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7"/>
  </p:notesMasterIdLst>
  <p:sldIdLst>
    <p:sldId id="2076137761" r:id="rId10"/>
    <p:sldId id="207613776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770" r:id="rId31"/>
    <p:sldId id="2076137514" r:id="rId32"/>
    <p:sldId id="2076137504" r:id="rId33"/>
    <p:sldId id="2076137167" r:id="rId34"/>
    <p:sldId id="2076137771" r:id="rId35"/>
    <p:sldId id="207613753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89429" autoAdjust="0"/>
  </p:normalViewPr>
  <p:slideViewPr>
    <p:cSldViewPr snapToGrid="0">
      <p:cViewPr varScale="1">
        <p:scale>
          <a:sx n="50" d="100"/>
          <a:sy n="50" d="100"/>
        </p:scale>
        <p:origin x="116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rgbClr val="7030A0"/>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AD91EEBA-8856-4ED0-9D48-09A3A3F0346D}">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536CB2C5-A93C-4970-A7E2-46DAFCE46E8D}" type="parTrans" cxnId="{89104DD3-3A8B-47EE-862E-EF1B682478A4}">
      <dgm:prSet/>
      <dgm:spPr/>
      <dgm:t>
        <a:bodyPr/>
        <a:lstStyle/>
        <a:p>
          <a:endParaRPr lang="en-GB"/>
        </a:p>
      </dgm:t>
    </dgm:pt>
    <dgm:pt modelId="{ABD24437-4EFA-4064-B4A0-0324C24E982D}" type="sibTrans" cxnId="{89104DD3-3A8B-47EE-862E-EF1B682478A4}">
      <dgm:prSet/>
      <dgm:spPr/>
      <dgm:t>
        <a:bodyPr/>
        <a:lstStyle/>
        <a:p>
          <a:endParaRPr lang="en-GB"/>
        </a:p>
      </dgm:t>
    </dgm:pt>
    <dgm:pt modelId="{11AC1411-3698-421A-BEE5-2FA54167B7CA}">
      <dgm:prSet custT="1"/>
      <dgm:spPr/>
      <dgm:t>
        <a:bodyPr/>
        <a:lstStyle/>
        <a:p>
          <a:pPr>
            <a:lnSpc>
              <a:spcPct val="150000"/>
            </a:lnSpc>
            <a:buFont typeface="Wingdings" panose="05000000000000000000" pitchFamily="2" charset="2"/>
            <a:buChar char="ü"/>
          </a:pPr>
          <a:r>
            <a:rPr lang="en-GB" sz="1100" dirty="0"/>
            <a:t>Converse everywhere</a:t>
          </a:r>
        </a:p>
      </dgm:t>
    </dgm:pt>
    <dgm:pt modelId="{2C66BCF8-E76B-4BE8-A30E-EE45FFCAD391}" type="parTrans" cxnId="{5CE777E9-1F86-4521-83C9-BDFBE13AD677}">
      <dgm:prSet/>
      <dgm:spPr/>
      <dgm:t>
        <a:bodyPr/>
        <a:lstStyle/>
        <a:p>
          <a:endParaRPr lang="en-GB"/>
        </a:p>
      </dgm:t>
    </dgm:pt>
    <dgm:pt modelId="{B212F4F3-D64E-409F-81A2-DDE8E3836AAB}" type="sibTrans" cxnId="{5CE777E9-1F86-4521-83C9-BDFBE13AD677}">
      <dgm:prSet/>
      <dgm:spPr/>
      <dgm:t>
        <a:bodyPr/>
        <a:lstStyle/>
        <a:p>
          <a:endParaRPr lang="en-GB"/>
        </a:p>
      </dgm:t>
    </dgm:pt>
    <dgm:pt modelId="{89DC80A8-43D7-4BA5-BC09-0C819D8C1040}">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CEB56FC5-10E3-4C90-8882-13DD990A088A}" type="parTrans" cxnId="{07832E3D-DEA0-47B2-B356-8DAFE5DB4457}">
      <dgm:prSet/>
      <dgm:spPr/>
      <dgm:t>
        <a:bodyPr/>
        <a:lstStyle/>
        <a:p>
          <a:endParaRPr lang="en-GB"/>
        </a:p>
      </dgm:t>
    </dgm:pt>
    <dgm:pt modelId="{D2C01208-0D95-45B2-8BC3-77ACF3534569}" type="sibTrans" cxnId="{07832E3D-DEA0-47B2-B356-8DAFE5DB4457}">
      <dgm:prSet/>
      <dgm:spPr/>
      <dgm:t>
        <a:bodyPr/>
        <a:lstStyle/>
        <a:p>
          <a:endParaRPr lang="en-GB"/>
        </a:p>
      </dgm:t>
    </dgm:pt>
    <dgm:pt modelId="{77EFB8EC-4A83-4282-A3AA-9B09560BB1F5}">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2CA58FB-5F7E-4CC2-896C-B81C63185D05}" type="parTrans" cxnId="{1903B23E-C179-4075-AB5C-CA7E7DEE6B21}">
      <dgm:prSet/>
      <dgm:spPr/>
      <dgm:t>
        <a:bodyPr/>
        <a:lstStyle/>
        <a:p>
          <a:endParaRPr lang="en-GB"/>
        </a:p>
      </dgm:t>
    </dgm:pt>
    <dgm:pt modelId="{AF4E1B59-1619-43DF-9F84-1510645C15DB}" type="sibTrans" cxnId="{1903B23E-C179-4075-AB5C-CA7E7DEE6B21}">
      <dgm:prSet/>
      <dgm:spPr/>
      <dgm:t>
        <a:bodyPr/>
        <a:lstStyle/>
        <a:p>
          <a:endParaRPr lang="en-GB"/>
        </a:p>
      </dgm:t>
    </dgm:pt>
    <dgm:pt modelId="{E6E9D4B7-F49C-4F64-9114-069C17F15395}">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5EFE23C7-BDBD-424A-9CA9-3165AC602CA4}" type="parTrans" cxnId="{52698D68-172F-4DC5-9883-407EE0D447DB}">
      <dgm:prSet/>
      <dgm:spPr/>
      <dgm:t>
        <a:bodyPr/>
        <a:lstStyle/>
        <a:p>
          <a:endParaRPr lang="en-GB"/>
        </a:p>
      </dgm:t>
    </dgm:pt>
    <dgm:pt modelId="{B8CDA490-0447-4A6A-B1ED-63C7F1652EEF}" type="sibTrans" cxnId="{52698D68-172F-4DC5-9883-407EE0D447DB}">
      <dgm:prSet/>
      <dgm:spPr/>
      <dgm:t>
        <a:bodyPr/>
        <a:lstStyle/>
        <a:p>
          <a:endParaRPr lang="en-GB"/>
        </a:p>
      </dgm:t>
    </dgm:pt>
    <dgm:pt modelId="{D20DDB2C-67E6-4F59-B79B-C0334142922C}">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481944F2-8FDA-4046-9989-51D50685023E}" type="parTrans" cxnId="{0E7745C2-08AD-4050-A880-E4362EFB3327}">
      <dgm:prSet/>
      <dgm:spPr/>
      <dgm:t>
        <a:bodyPr/>
        <a:lstStyle/>
        <a:p>
          <a:endParaRPr lang="en-GB"/>
        </a:p>
      </dgm:t>
    </dgm:pt>
    <dgm:pt modelId="{40F9031E-5BA6-4011-9F09-E6AA09B74140}" type="sibTrans" cxnId="{0E7745C2-08AD-4050-A880-E4362EFB3327}">
      <dgm:prSet/>
      <dgm:spPr/>
      <dgm:t>
        <a:bodyPr/>
        <a:lstStyle/>
        <a:p>
          <a:endParaRPr lang="en-GB"/>
        </a:p>
      </dgm:t>
    </dgm:pt>
    <dgm:pt modelId="{A2B10B30-B51C-4019-B4B8-3E21DBAA6CF0}">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BAE86EFA-6664-45E5-A238-5A75A722A824}" type="parTrans" cxnId="{9B2E73B0-07BF-42E1-A15A-36EE6D36127E}">
      <dgm:prSet/>
      <dgm:spPr/>
      <dgm:t>
        <a:bodyPr/>
        <a:lstStyle/>
        <a:p>
          <a:endParaRPr lang="en-GB"/>
        </a:p>
      </dgm:t>
    </dgm:pt>
    <dgm:pt modelId="{FA411AD1-7B6C-40D1-9980-C89DC5032D2F}" type="sibTrans" cxnId="{9B2E73B0-07BF-42E1-A15A-36EE6D36127E}">
      <dgm:prSet/>
      <dgm:spPr/>
      <dgm:t>
        <a:bodyPr/>
        <a:lstStyle/>
        <a:p>
          <a:endParaRPr lang="en-GB"/>
        </a:p>
      </dgm:t>
    </dgm:pt>
    <dgm:pt modelId="{8DCD899F-7B7A-48D7-B873-20214CD72D56}">
      <dgm:prSet custT="1"/>
      <dgm:spPr/>
      <dgm:t>
        <a:bodyPr/>
        <a:lstStyle/>
        <a:p>
          <a:pPr>
            <a:lnSpc>
              <a:spcPct val="150000"/>
            </a:lnSpc>
            <a:buFont typeface="Wingdings" panose="05000000000000000000" pitchFamily="2" charset="2"/>
            <a:buChar char="ü"/>
          </a:pPr>
          <a:r>
            <a:rPr lang="en-GB" sz="1100" dirty="0"/>
            <a:t>Demo</a:t>
          </a:r>
        </a:p>
      </dgm:t>
    </dgm:pt>
    <dgm:pt modelId="{9DD2110D-6F8D-435D-929C-2BADD1C45DA7}" type="parTrans" cxnId="{C723E415-7645-43BA-8255-4CE72A69DFF9}">
      <dgm:prSet/>
      <dgm:spPr/>
      <dgm:t>
        <a:bodyPr/>
        <a:lstStyle/>
        <a:p>
          <a:endParaRPr lang="en-GB"/>
        </a:p>
      </dgm:t>
    </dgm:pt>
    <dgm:pt modelId="{3CAA0345-3B4B-4DBF-9710-8895C2C5F86A}" type="sibTrans" cxnId="{C723E415-7645-43BA-8255-4CE72A69DFF9}">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58EFBE0E-608C-459C-91C2-327CCCC6A494}" type="presOf" srcId="{E6E9D4B7-F49C-4F64-9114-069C17F15395}" destId="{6BCC47BA-0C21-4EC9-8F7B-D9BCA5C8EC21}" srcOrd="0" destOrd="5" presId="urn:microsoft.com/office/officeart/2005/8/layout/hList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C723E415-7645-43BA-8255-4CE72A69DFF9}" srcId="{DF86A6E5-580E-4F2A-B223-B458E5A97CE4}" destId="{8DCD899F-7B7A-48D7-B873-20214CD72D56}" srcOrd="8" destOrd="0" parTransId="{9DD2110D-6F8D-435D-929C-2BADD1C45DA7}" sibTransId="{3CAA0345-3B4B-4DBF-9710-8895C2C5F86A}"/>
    <dgm:cxn modelId="{31AA0117-FF35-40A4-A53F-1F27DE66F5FE}" type="presOf" srcId="{AD91EEBA-8856-4ED0-9D48-09A3A3F0346D}" destId="{6BCC47BA-0C21-4EC9-8F7B-D9BCA5C8EC21}" srcOrd="0" destOrd="1"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FF08921-C93E-4EC2-A6F6-5DE522DDEF98}" type="presOf" srcId="{11AC1411-3698-421A-BEE5-2FA54167B7CA}" destId="{6BCC47BA-0C21-4EC9-8F7B-D9BCA5C8EC21}" srcOrd="0" destOrd="2"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9620D3A-C64F-4A2E-8D09-95762CA625FC}" type="presOf" srcId="{7726AA4A-EF59-43F8-8F82-A92F5D13E503}" destId="{FE6D297C-C9E0-4A7D-A12A-BA53DEE78AEC}" srcOrd="0" destOrd="4" presId="urn:microsoft.com/office/officeart/2005/8/layout/hList1"/>
    <dgm:cxn modelId="{07832E3D-DEA0-47B2-B356-8DAFE5DB4457}" srcId="{DF86A6E5-580E-4F2A-B223-B458E5A97CE4}" destId="{89DC80A8-43D7-4BA5-BC09-0C819D8C1040}" srcOrd="3" destOrd="0" parTransId="{CEB56FC5-10E3-4C90-8882-13DD990A088A}" sibTransId="{D2C01208-0D95-45B2-8BC3-77ACF3534569}"/>
    <dgm:cxn modelId="{1903B23E-C179-4075-AB5C-CA7E7DEE6B21}" srcId="{DF86A6E5-580E-4F2A-B223-B458E5A97CE4}" destId="{77EFB8EC-4A83-4282-A3AA-9B09560BB1F5}" srcOrd="4" destOrd="0" parTransId="{82CA58FB-5F7E-4CC2-896C-B81C63185D05}" sibTransId="{AF4E1B59-1619-43DF-9F84-1510645C15DB}"/>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52698D68-172F-4DC5-9883-407EE0D447DB}" srcId="{DF86A6E5-580E-4F2A-B223-B458E5A97CE4}" destId="{E6E9D4B7-F49C-4F64-9114-069C17F15395}" srcOrd="5" destOrd="0" parTransId="{5EFE23C7-BDBD-424A-9CA9-3165AC602CA4}" sibTransId="{B8CDA490-0447-4A6A-B1ED-63C7F1652EEF}"/>
    <dgm:cxn modelId="{F834054A-AB85-4904-BBFF-1BDBA8A7BA92}" type="presOf" srcId="{7DD21E05-B72D-4A5A-8096-94CED97513BB}" destId="{569DA3D3-C2E5-4089-A6F0-CF7A0DE5293E}" srcOrd="0" destOrd="5" presId="urn:microsoft.com/office/officeart/2005/8/layout/hList1"/>
    <dgm:cxn modelId="{1281484A-EC2D-408A-BB9E-5F68D77A7A2D}" type="presOf" srcId="{A2B10B30-B51C-4019-B4B8-3E21DBAA6CF0}" destId="{6BCC47BA-0C21-4EC9-8F7B-D9BCA5C8EC21}" srcOrd="0" destOrd="7" presId="urn:microsoft.com/office/officeart/2005/8/layout/hList1"/>
    <dgm:cxn modelId="{49C4924D-6080-4842-9483-01E51AED43ED}" type="presOf" srcId="{8DCD899F-7B7A-48D7-B873-20214CD72D56}" destId="{6BCC47BA-0C21-4EC9-8F7B-D9BCA5C8EC21}" srcOrd="0" destOrd="8"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D6CB58A3-046A-4993-A05B-0AA2CFA845E7}" type="presOf" srcId="{055EA4F5-B904-4B8A-ABBE-39BF1FDDECA8}" destId="{CD66AAD5-A74B-4989-8AD5-348B79FA87C7}" srcOrd="0" destOrd="4" presId="urn:microsoft.com/office/officeart/2005/8/layout/hList1"/>
    <dgm:cxn modelId="{8A3788A3-F20A-4547-9076-CA36F7684B1E}" type="presOf" srcId="{89DC80A8-43D7-4BA5-BC09-0C819D8C1040}" destId="{6BCC47BA-0C21-4EC9-8F7B-D9BCA5C8EC21}" srcOrd="0" destOrd="3"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9B2E73B0-07BF-42E1-A15A-36EE6D36127E}" srcId="{DF86A6E5-580E-4F2A-B223-B458E5A97CE4}" destId="{A2B10B30-B51C-4019-B4B8-3E21DBAA6CF0}" srcOrd="7" destOrd="0" parTransId="{BAE86EFA-6664-45E5-A238-5A75A722A824}" sibTransId="{FA411AD1-7B6C-40D1-9980-C89DC5032D2F}"/>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0E7745C2-08AD-4050-A880-E4362EFB3327}" srcId="{DF86A6E5-580E-4F2A-B223-B458E5A97CE4}" destId="{D20DDB2C-67E6-4F59-B79B-C0334142922C}" srcOrd="6" destOrd="0" parTransId="{481944F2-8FDA-4046-9989-51D50685023E}" sibTransId="{40F9031E-5BA6-4011-9F09-E6AA09B74140}"/>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238B2CD3-1D86-4086-A039-7B5DBFB164F0}" type="presOf" srcId="{77EFB8EC-4A83-4282-A3AA-9B09560BB1F5}" destId="{6BCC47BA-0C21-4EC9-8F7B-D9BCA5C8EC21}" srcOrd="0" destOrd="4" presId="urn:microsoft.com/office/officeart/2005/8/layout/hList1"/>
    <dgm:cxn modelId="{89104DD3-3A8B-47EE-862E-EF1B682478A4}" srcId="{DF86A6E5-580E-4F2A-B223-B458E5A97CE4}" destId="{AD91EEBA-8856-4ED0-9D48-09A3A3F0346D}" srcOrd="1" destOrd="0" parTransId="{536CB2C5-A93C-4970-A7E2-46DAFCE46E8D}" sibTransId="{ABD24437-4EFA-4064-B4A0-0324C24E982D}"/>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5CE777E9-1F86-4521-83C9-BDFBE13AD677}" srcId="{DF86A6E5-580E-4F2A-B223-B458E5A97CE4}" destId="{11AC1411-3698-421A-BEE5-2FA54167B7CA}" srcOrd="2" destOrd="0" parTransId="{2C66BCF8-E76B-4BE8-A30E-EE45FFCAD391}" sibTransId="{B212F4F3-D64E-409F-81A2-DDE8E3836AAB}"/>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96C077FA-700D-4F60-A717-D563370430CC}" type="presOf" srcId="{D20DDB2C-67E6-4F59-B79B-C0334142922C}" destId="{6BCC47BA-0C21-4EC9-8F7B-D9BCA5C8EC21}" srcOrd="0" destOrd="6"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050" dirty="0"/>
            <a:t>Introduction</a:t>
          </a:r>
          <a:endParaRPr lang="en-AU" sz="105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050" dirty="0"/>
            <a:t>Introduction</a:t>
          </a:r>
          <a:endParaRPr lang="en-AU" sz="105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9B78BEB6-50E8-438E-8214-F21EF6978EAC}">
      <dgm:prSet custT="1"/>
      <dgm:spPr>
        <a:noFill/>
      </dgm:spPr>
      <dgm:t>
        <a:bodyPr/>
        <a:lstStyle/>
        <a:p>
          <a:r>
            <a:rPr lang="en-AU" sz="1100" dirty="0"/>
            <a:t>s</a:t>
          </a:r>
        </a:p>
      </dgm:t>
    </dgm:pt>
    <dgm:pt modelId="{061EEA83-2905-45BD-8FA7-D94853AE47E8}" type="parTrans" cxnId="{AEB8CEF2-B838-4CB2-8812-7851ADE3D758}">
      <dgm:prSet/>
      <dgm:spPr/>
      <dgm:t>
        <a:bodyPr/>
        <a:lstStyle/>
        <a:p>
          <a:endParaRPr lang="en-AU" sz="2400"/>
        </a:p>
      </dgm:t>
    </dgm:pt>
    <dgm:pt modelId="{3B50534F-65A9-4DF9-B3EC-99A6C6D4B114}" type="sibTrans" cxnId="{AEB8CEF2-B838-4CB2-8812-7851ADE3D758}">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r>
            <a:rPr lang="en-AU" sz="1100" dirty="0"/>
            <a:t>o</a:t>
          </a:r>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8ED9057-4374-4D05-93BB-89988B4475A3}">
      <dgm:prSet custT="1"/>
      <dgm:spPr>
        <a:noFill/>
      </dgm:spPr>
      <dgm:t>
        <a:bodyPr/>
        <a:lstStyle/>
        <a:p>
          <a:r>
            <a:rPr lang="en-AU" sz="1100" dirty="0"/>
            <a:t>s</a:t>
          </a:r>
        </a:p>
      </dgm:t>
    </dgm:pt>
    <dgm:pt modelId="{DD77604E-A3EE-4127-9789-C069C0B81011}" type="parTrans" cxnId="{2ECCE012-78B6-496A-B937-74CA51DCFEDC}">
      <dgm:prSet/>
      <dgm:spPr/>
      <dgm:t>
        <a:bodyPr/>
        <a:lstStyle/>
        <a:p>
          <a:endParaRPr lang="en-AU" sz="2400"/>
        </a:p>
      </dgm:t>
    </dgm:pt>
    <dgm:pt modelId="{3F07839F-A41B-4CF6-A17C-B4B366E24072}" type="sibTrans" cxnId="{2ECCE012-78B6-496A-B937-74CA51DCFEDC}">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050" dirty="0"/>
            <a:t>AI for every app. And everyone</a:t>
          </a:r>
          <a:endParaRPr lang="en-GB" sz="105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05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05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05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05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05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05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05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F9E75D7C-98A7-41BB-95A1-89B8316862D6}">
      <dgm:prSet custT="1"/>
      <dgm:spPr/>
      <dgm:t>
        <a:bodyPr/>
        <a:lstStyle/>
        <a:p>
          <a:pPr>
            <a:lnSpc>
              <a:spcPct val="150000"/>
            </a:lnSpc>
            <a:buFont typeface="Wingdings" panose="05000000000000000000" pitchFamily="2" charset="2"/>
            <a:buChar char="ü"/>
          </a:pPr>
          <a:r>
            <a:rPr lang="en-GB" sz="1050" dirty="0"/>
            <a:t>The 5x5 Principle</a:t>
          </a:r>
        </a:p>
      </dgm:t>
    </dgm:pt>
    <dgm:pt modelId="{8F7BCD5E-C5F9-4548-8D89-FAE3AB7C1141}" type="parTrans" cxnId="{BCD750F1-20C5-42F2-B82C-B9799ED084F6}">
      <dgm:prSet/>
      <dgm:spPr/>
      <dgm:t>
        <a:bodyPr/>
        <a:lstStyle/>
        <a:p>
          <a:endParaRPr lang="en-GB"/>
        </a:p>
      </dgm:t>
    </dgm:pt>
    <dgm:pt modelId="{2421EF1D-14E9-471D-92C3-B56B6E1D4B96}" type="sibTrans" cxnId="{BCD750F1-20C5-42F2-B82C-B9799ED084F6}">
      <dgm:prSet/>
      <dgm:spPr/>
      <dgm:t>
        <a:bodyPr/>
        <a:lstStyle/>
        <a:p>
          <a:endParaRPr lang="en-GB"/>
        </a:p>
      </dgm:t>
    </dgm:pt>
    <dgm:pt modelId="{BA4C32B8-CB34-4CE9-9107-40D10DCF01DE}">
      <dgm:prSet custT="1"/>
      <dgm:spPr/>
      <dgm:t>
        <a:bodyPr/>
        <a:lstStyle/>
        <a:p>
          <a:pPr>
            <a:lnSpc>
              <a:spcPct val="150000"/>
            </a:lnSpc>
            <a:buFont typeface="Wingdings" panose="05000000000000000000" pitchFamily="2" charset="2"/>
            <a:buChar char="ü"/>
          </a:pPr>
          <a:r>
            <a:rPr lang="en-GB" sz="1050" dirty="0"/>
            <a:t>Customer momentum: Power BI</a:t>
          </a:r>
        </a:p>
      </dgm:t>
    </dgm:pt>
    <dgm:pt modelId="{257677B1-C7AF-4B5C-BBA2-634C8E0F6476}" type="parTrans" cxnId="{A08A752A-5A33-4B61-95B0-8B0BB39EF6FD}">
      <dgm:prSet/>
      <dgm:spPr/>
      <dgm:t>
        <a:bodyPr/>
        <a:lstStyle/>
        <a:p>
          <a:endParaRPr lang="en-GB"/>
        </a:p>
      </dgm:t>
    </dgm:pt>
    <dgm:pt modelId="{5B71BAC2-EB28-48F2-9E30-EE0244D182F3}" type="sibTrans" cxnId="{A08A752A-5A33-4B61-95B0-8B0BB39EF6FD}">
      <dgm:prSet/>
      <dgm:spPr/>
      <dgm:t>
        <a:bodyPr/>
        <a:lstStyle/>
        <a:p>
          <a:endParaRPr lang="en-GB"/>
        </a:p>
      </dgm:t>
    </dgm:pt>
    <dgm:pt modelId="{CA81DCF0-A0D1-44C1-B800-E245C8B683B7}">
      <dgm:prSet custT="1"/>
      <dgm:spPr/>
      <dgm:t>
        <a:bodyPr/>
        <a:lstStyle/>
        <a:p>
          <a:pPr>
            <a:lnSpc>
              <a:spcPct val="150000"/>
            </a:lnSpc>
            <a:buFont typeface="Wingdings" panose="05000000000000000000" pitchFamily="2" charset="2"/>
            <a:buChar char="ü"/>
          </a:pPr>
          <a:r>
            <a:rPr lang="en-GB" sz="1050" dirty="0"/>
            <a:t>Power BI Desktop</a:t>
          </a:r>
        </a:p>
      </dgm:t>
    </dgm:pt>
    <dgm:pt modelId="{1B104CC6-EFC8-4F65-9ADD-B4D5BD48842B}" type="parTrans" cxnId="{1EFF9DA9-CF00-46AF-8D64-BBDA266A3CFB}">
      <dgm:prSet/>
      <dgm:spPr/>
      <dgm:t>
        <a:bodyPr/>
        <a:lstStyle/>
        <a:p>
          <a:endParaRPr lang="en-GB"/>
        </a:p>
      </dgm:t>
    </dgm:pt>
    <dgm:pt modelId="{52A93A8D-281B-44AA-8C27-7890CF9F5D39}" type="sibTrans" cxnId="{1EFF9DA9-CF00-46AF-8D64-BBDA266A3CFB}">
      <dgm:prSet/>
      <dgm:spPr/>
      <dgm:t>
        <a:bodyPr/>
        <a:lstStyle/>
        <a:p>
          <a:endParaRPr lang="en-GB"/>
        </a:p>
      </dgm:t>
    </dgm:pt>
    <dgm:pt modelId="{FA52E312-6273-4A57-9BE3-AEC692A43FC0}">
      <dgm:prSet custT="1"/>
      <dgm:spPr/>
      <dgm:t>
        <a:bodyPr/>
        <a:lstStyle/>
        <a:p>
          <a:pPr>
            <a:lnSpc>
              <a:spcPct val="150000"/>
            </a:lnSpc>
            <a:buFont typeface="Wingdings" panose="05000000000000000000" pitchFamily="2" charset="2"/>
            <a:buChar char="ü"/>
          </a:pPr>
          <a:r>
            <a:rPr lang="en-GB" sz="1050" dirty="0"/>
            <a:t>Data sources</a:t>
          </a:r>
        </a:p>
      </dgm:t>
    </dgm:pt>
    <dgm:pt modelId="{EC29CCC8-CEB1-4A45-9EF3-241E5EE75178}" type="parTrans" cxnId="{DEB2197F-13BC-484A-8EDF-C647F1100AA3}">
      <dgm:prSet/>
      <dgm:spPr/>
      <dgm:t>
        <a:bodyPr/>
        <a:lstStyle/>
        <a:p>
          <a:endParaRPr lang="en-GB"/>
        </a:p>
      </dgm:t>
    </dgm:pt>
    <dgm:pt modelId="{BEB87085-5200-4865-93A2-5AE4D06E47C3}" type="sibTrans" cxnId="{DEB2197F-13BC-484A-8EDF-C647F1100AA3}">
      <dgm:prSet/>
      <dgm:spPr/>
      <dgm:t>
        <a:bodyPr/>
        <a:lstStyle/>
        <a:p>
          <a:endParaRPr lang="en-GB"/>
        </a:p>
      </dgm:t>
    </dgm:pt>
    <dgm:pt modelId="{4B9E0442-77A6-43AE-9C64-EB04A69EA092}">
      <dgm:prSet custT="1"/>
      <dgm:spPr/>
      <dgm:t>
        <a:bodyPr/>
        <a:lstStyle/>
        <a:p>
          <a:pPr>
            <a:lnSpc>
              <a:spcPct val="150000"/>
            </a:lnSpc>
            <a:buFont typeface="Wingdings" panose="05000000000000000000" pitchFamily="2" charset="2"/>
            <a:buChar char="ü"/>
          </a:pPr>
          <a:r>
            <a:rPr lang="en-GB" sz="1050" dirty="0"/>
            <a:t>Power Query</a:t>
          </a:r>
        </a:p>
      </dgm:t>
    </dgm:pt>
    <dgm:pt modelId="{54982281-E852-46CB-BE03-0B37879373BB}" type="parTrans" cxnId="{9BD6DA1F-CB87-4D7B-8CF9-775EC4FCFA7F}">
      <dgm:prSet/>
      <dgm:spPr/>
      <dgm:t>
        <a:bodyPr/>
        <a:lstStyle/>
        <a:p>
          <a:endParaRPr lang="en-GB"/>
        </a:p>
      </dgm:t>
    </dgm:pt>
    <dgm:pt modelId="{7DCBA7A1-7659-4348-9241-78C9375417D9}" type="sibTrans" cxnId="{9BD6DA1F-CB87-4D7B-8CF9-775EC4FCFA7F}">
      <dgm:prSet/>
      <dgm:spPr/>
      <dgm:t>
        <a:bodyPr/>
        <a:lstStyle/>
        <a:p>
          <a:endParaRPr lang="en-GB"/>
        </a:p>
      </dgm:t>
    </dgm:pt>
    <dgm:pt modelId="{BD774B89-4822-4DCB-BF35-41F9289F8177}">
      <dgm:prSet custT="1"/>
      <dgm:spPr/>
      <dgm:t>
        <a:bodyPr/>
        <a:lstStyle/>
        <a:p>
          <a:pPr>
            <a:lnSpc>
              <a:spcPct val="150000"/>
            </a:lnSpc>
            <a:buFont typeface="Wingdings" panose="05000000000000000000" pitchFamily="2" charset="2"/>
            <a:buChar char="ü"/>
          </a:pPr>
          <a:r>
            <a:rPr lang="en-GB" sz="1050" dirty="0"/>
            <a:t>Dataflow</a:t>
          </a:r>
        </a:p>
      </dgm:t>
    </dgm:pt>
    <dgm:pt modelId="{0DFB5E71-3862-4656-96CC-6C65D5CDD2FF}" type="parTrans" cxnId="{330FCE4B-5774-4AFB-BE22-1E35FFAD15BC}">
      <dgm:prSet/>
      <dgm:spPr/>
      <dgm:t>
        <a:bodyPr/>
        <a:lstStyle/>
        <a:p>
          <a:endParaRPr lang="en-GB"/>
        </a:p>
      </dgm:t>
    </dgm:pt>
    <dgm:pt modelId="{A4E77D40-C5A1-40FD-8C74-FDD7A8C1A2CA}" type="sibTrans" cxnId="{330FCE4B-5774-4AFB-BE22-1E35FFAD15BC}">
      <dgm:prSet/>
      <dgm:spPr/>
      <dgm:t>
        <a:bodyPr/>
        <a:lstStyle/>
        <a:p>
          <a:endParaRPr lang="en-GB"/>
        </a:p>
      </dgm:t>
    </dgm:pt>
    <dgm:pt modelId="{E171E9BA-6A14-4189-BA03-F4B604EADB19}">
      <dgm:prSet custT="1"/>
      <dgm:spPr/>
      <dgm:t>
        <a:bodyPr/>
        <a:lstStyle/>
        <a:p>
          <a:pPr>
            <a:lnSpc>
              <a:spcPct val="150000"/>
            </a:lnSpc>
            <a:buFont typeface="Wingdings" panose="05000000000000000000" pitchFamily="2" charset="2"/>
            <a:buChar char="ü"/>
          </a:pPr>
          <a:r>
            <a:rPr lang="en-US" sz="1050" dirty="0"/>
            <a:t>Using a Calculation (DAX) in multiple files</a:t>
          </a:r>
          <a:endParaRPr lang="en-GB" sz="1050" dirty="0"/>
        </a:p>
      </dgm:t>
    </dgm:pt>
    <dgm:pt modelId="{097B5464-F837-4FC4-A150-5109CF2D99DC}" type="parTrans" cxnId="{5B95AB92-3AFB-4339-B93D-7552FFF74793}">
      <dgm:prSet/>
      <dgm:spPr/>
      <dgm:t>
        <a:bodyPr/>
        <a:lstStyle/>
        <a:p>
          <a:endParaRPr lang="en-GB"/>
        </a:p>
      </dgm:t>
    </dgm:pt>
    <dgm:pt modelId="{D86A599A-952D-4B9D-AE50-0CBDCE3AAA67}" type="sibTrans" cxnId="{5B95AB92-3AFB-4339-B93D-7552FFF74793}">
      <dgm:prSet/>
      <dgm:spPr/>
      <dgm:t>
        <a:bodyPr/>
        <a:lstStyle/>
        <a:p>
          <a:endParaRPr lang="en-GB"/>
        </a:p>
      </dgm:t>
    </dgm:pt>
    <dgm:pt modelId="{9A4DB8F8-8EFE-4EFC-93BD-93BDF119A9C1}">
      <dgm:prSet custT="1"/>
      <dgm:spPr/>
      <dgm:t>
        <a:bodyPr/>
        <a:lstStyle/>
        <a:p>
          <a:pPr>
            <a:lnSpc>
              <a:spcPct val="150000"/>
            </a:lnSpc>
            <a:buFont typeface="Wingdings" panose="05000000000000000000" pitchFamily="2" charset="2"/>
            <a:buChar char="ü"/>
          </a:pPr>
          <a:r>
            <a:rPr lang="en-GB" sz="1050" dirty="0"/>
            <a:t>Paginated Reporting</a:t>
          </a:r>
        </a:p>
      </dgm:t>
    </dgm:pt>
    <dgm:pt modelId="{130010CD-C8E0-4E27-9501-807B48404F20}" type="parTrans" cxnId="{AC608A87-AFAC-4122-B89E-174D160545B7}">
      <dgm:prSet/>
      <dgm:spPr/>
      <dgm:t>
        <a:bodyPr/>
        <a:lstStyle/>
        <a:p>
          <a:endParaRPr lang="en-GB"/>
        </a:p>
      </dgm:t>
    </dgm:pt>
    <dgm:pt modelId="{55AC7668-D0A1-42A4-A259-196B8BCF5FEA}" type="sibTrans" cxnId="{AC608A87-AFAC-4122-B89E-174D160545B7}">
      <dgm:prSet/>
      <dgm:spPr/>
      <dgm:t>
        <a:bodyPr/>
        <a:lstStyle/>
        <a:p>
          <a:endParaRPr lang="en-GB"/>
        </a:p>
      </dgm:t>
    </dgm:pt>
    <dgm:pt modelId="{97709F8C-FC85-4C6B-8528-ED4965BEB559}">
      <dgm:prSet custT="1"/>
      <dgm:spPr/>
      <dgm:t>
        <a:bodyPr/>
        <a:lstStyle/>
        <a:p>
          <a:pPr>
            <a:lnSpc>
              <a:spcPct val="150000"/>
            </a:lnSpc>
            <a:buFont typeface="Wingdings" panose="05000000000000000000" pitchFamily="2" charset="2"/>
            <a:buChar char="ü"/>
          </a:pPr>
          <a:r>
            <a:rPr lang="en-GB" sz="1050" dirty="0"/>
            <a:t>Power BI Admin Portal </a:t>
          </a:r>
        </a:p>
      </dgm:t>
    </dgm:pt>
    <dgm:pt modelId="{4CEC39CA-975C-4C83-9D90-9DE8413FA03E}" type="parTrans" cxnId="{DE69A0BD-819F-4DCA-99E0-91F271029230}">
      <dgm:prSet/>
      <dgm:spPr/>
      <dgm:t>
        <a:bodyPr/>
        <a:lstStyle/>
        <a:p>
          <a:endParaRPr lang="en-GB"/>
        </a:p>
      </dgm:t>
    </dgm:pt>
    <dgm:pt modelId="{D27916A1-C435-47AC-8F8F-5A6DF8D199FF}" type="sibTrans" cxnId="{DE69A0BD-819F-4DCA-99E0-91F271029230}">
      <dgm:prSet/>
      <dgm:spPr/>
      <dgm:t>
        <a:bodyPr/>
        <a:lstStyle/>
        <a:p>
          <a:endParaRPr lang="en-GB"/>
        </a:p>
      </dgm:t>
    </dgm:pt>
    <dgm:pt modelId="{F05DED01-7AEE-4634-9FDC-8AC932E8C969}">
      <dgm:prSet custT="1"/>
      <dgm:spPr/>
      <dgm:t>
        <a:bodyPr/>
        <a:lstStyle/>
        <a:p>
          <a:pPr>
            <a:lnSpc>
              <a:spcPct val="150000"/>
            </a:lnSpc>
            <a:buFont typeface="Wingdings" panose="05000000000000000000" pitchFamily="2" charset="2"/>
            <a:buChar char="ü"/>
          </a:pPr>
          <a:r>
            <a:rPr lang="en-GB" sz="1050" dirty="0"/>
            <a:t>Demo</a:t>
          </a:r>
        </a:p>
      </dgm:t>
    </dgm:pt>
    <dgm:pt modelId="{F9F8772D-1827-4065-9F30-2A8E27142504}" type="parTrans" cxnId="{99E800C7-7367-4A66-AEB5-F4E434BAC45F}">
      <dgm:prSet/>
      <dgm:spPr/>
      <dgm:t>
        <a:bodyPr/>
        <a:lstStyle/>
        <a:p>
          <a:endParaRPr lang="en-GB"/>
        </a:p>
      </dgm:t>
    </dgm:pt>
    <dgm:pt modelId="{902FF6AB-514A-40A6-8434-CF4101310CE7}" type="sibTrans" cxnId="{99E800C7-7367-4A66-AEB5-F4E434BAC45F}">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D5A57906-EFEF-4398-99CB-3E2FE01E1F82}" type="presOf" srcId="{F9E75D7C-98A7-41BB-95A1-89B8316862D6}" destId="{F9540AD5-4F34-4720-A853-23023519F2F5}" srcOrd="0" destOrd="1" presId="urn:microsoft.com/office/officeart/2005/8/layout/hList1"/>
    <dgm:cxn modelId="{33F1A608-4DA9-4826-AF52-36D4C55E4E04}" srcId="{AA0CC1A4-89B3-4AA2-AE39-4C1399639CA2}" destId="{C6F6A35E-EF9D-42DB-9F6B-51AFF90BC98C}" srcOrd="0" destOrd="0" parTransId="{4BE4706B-ADBA-4294-8DC4-FD7F07C201E2}" sibTransId="{5C687E63-B55E-4016-81AC-60C7B4AB88A6}"/>
    <dgm:cxn modelId="{E3ED610E-D840-4A47-82CA-1963CEA02A3D}" srcId="{AC11CA59-F486-473C-AE1A-BD3E159BD48A}" destId="{DF86A6E5-580E-4F2A-B223-B458E5A97CE4}" srcOrd="4" destOrd="0" parTransId="{A3F965A0-4DFA-4DB1-BF22-9BD549EB3157}" sibTransId="{A2239809-CB4C-48EC-8779-BE5C55EB41C1}"/>
    <dgm:cxn modelId="{2ECCE012-78B6-496A-B937-74CA51DCFEDC}" srcId="{DF86A6E5-580E-4F2A-B223-B458E5A97CE4}" destId="{48ED9057-4374-4D05-93BB-89988B4475A3}" srcOrd="1" destOrd="0" parTransId="{DD77604E-A3EE-4127-9789-C069C0B81011}" sibTransId="{3F07839F-A41B-4CF6-A17C-B4B366E24072}"/>
    <dgm:cxn modelId="{E455D314-3C2C-445D-8605-B78D41BFD70B}" type="presOf" srcId="{FC2E9FD0-AD1A-4E81-8CE8-F5387731ACC5}" destId="{6BCC47BA-0C21-4EC9-8F7B-D9BCA5C8EC21}" srcOrd="0" destOrd="0" presId="urn:microsoft.com/office/officeart/2005/8/layout/hList1"/>
    <dgm:cxn modelId="{FD2F531B-38D3-40D7-9FC7-9603D4E62ABF}" type="presOf" srcId="{CA81DCF0-A0D1-44C1-B800-E245C8B683B7}" destId="{F9540AD5-4F34-4720-A853-23023519F2F5}" srcOrd="0" destOrd="3" presId="urn:microsoft.com/office/officeart/2005/8/layout/hList1"/>
    <dgm:cxn modelId="{37581F1C-5334-445E-829C-72AF65A4BDB2}" type="presOf" srcId="{AA0CC1A4-89B3-4AA2-AE39-4C1399639CA2}" destId="{6D51457A-C3C5-41AF-B616-CDB4705EBFBD}" srcOrd="0" destOrd="0" presId="urn:microsoft.com/office/officeart/2005/8/layout/hList1"/>
    <dgm:cxn modelId="{9BD6DA1F-CB87-4D7B-8CF9-775EC4FCFA7F}" srcId="{3F8F7C63-6D9D-4496-99F3-13DF66B8EAD6}" destId="{4B9E0442-77A6-43AE-9C64-EB04A69EA092}" srcOrd="5" destOrd="0" parTransId="{54982281-E852-46CB-BE03-0B37879373BB}" sibTransId="{7DCBA7A1-7659-4348-9241-78C9375417D9}"/>
    <dgm:cxn modelId="{00844724-3574-4BD7-A1D7-0DDFFF3FBF87}" type="presOf" srcId="{236D48B7-63A7-4285-9C6C-7AFF01B56D9D}" destId="{CD66AAD5-A74B-4989-8AD5-348B79FA87C7}" srcOrd="0" destOrd="5" presId="urn:microsoft.com/office/officeart/2005/8/layout/hList1"/>
    <dgm:cxn modelId="{A08A752A-5A33-4B61-95B0-8B0BB39EF6FD}" srcId="{3F8F7C63-6D9D-4496-99F3-13DF66B8EAD6}" destId="{BA4C32B8-CB34-4CE9-9107-40D10DCF01DE}" srcOrd="2" destOrd="0" parTransId="{257677B1-C7AF-4B5C-BBA2-634C8E0F6476}" sibTransId="{5B71BAC2-EB28-48F2-9E30-EE0244D182F3}"/>
    <dgm:cxn modelId="{95F1422B-D2D2-4C16-B913-4506C14F30E2}" srcId="{5D730ECF-5E56-4BCC-9295-01AA7310EDA9}" destId="{58A2E522-E29C-4132-AC13-C3D4E644FA3C}" srcOrd="7" destOrd="0" parTransId="{E9E5FE19-EEBB-4197-8E3C-36FFB0A95F09}" sibTransId="{5D0976C6-ACD5-49EF-BDEC-DCDD2C61531D}"/>
    <dgm:cxn modelId="{E89DCC35-4170-4CB2-A20C-EB81473BF897}" srcId="{5D730ECF-5E56-4BCC-9295-01AA7310EDA9}" destId="{24E91F4A-3897-4A0C-950E-4537F3FBB810}" srcOrd="6" destOrd="0" parTransId="{3FA903BF-7730-470C-B9B9-D24374440B2F}" sibTransId="{B56624A6-8E5F-4771-B1C0-E2E7A2D5FEA7}"/>
    <dgm:cxn modelId="{3F787F5B-72AE-4186-9DFA-EE160FDB9596}" type="presOf" srcId="{F05DED01-7AEE-4634-9FDC-8AC932E8C969}" destId="{F9540AD5-4F34-4720-A853-23023519F2F5}" srcOrd="0" destOrd="10" presId="urn:microsoft.com/office/officeart/2005/8/layout/hList1"/>
    <dgm:cxn modelId="{B0D6FD5E-D622-4C75-951D-4FCFE47F2376}" srcId="{5D730ECF-5E56-4BCC-9295-01AA7310EDA9}" destId="{3E642F35-97D9-4849-9004-96A0F376220D}" srcOrd="2" destOrd="0" parTransId="{FC0A6F24-07E2-403B-9EB3-1E68DF92A7B9}" sibTransId="{E455CF66-9B12-4FAB-A0CC-01947E2B58B4}"/>
    <dgm:cxn modelId="{4EF3CF63-2FA4-4E24-9BD4-0158857EDA5D}" type="presOf" srcId="{FA52E312-6273-4A57-9BE3-AEC692A43FC0}" destId="{F9540AD5-4F34-4720-A853-23023519F2F5}" srcOrd="0" destOrd="4" presId="urn:microsoft.com/office/officeart/2005/8/layout/hList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30FCE4B-5774-4AFB-BE22-1E35FFAD15BC}" srcId="{3F8F7C63-6D9D-4496-99F3-13DF66B8EAD6}" destId="{BD774B89-4822-4DCB-BF35-41F9289F8177}" srcOrd="6" destOrd="0" parTransId="{0DFB5E71-3862-4656-96CC-6C65D5CDD2FF}" sibTransId="{A4E77D40-C5A1-40FD-8C74-FDD7A8C1A2CA}"/>
    <dgm:cxn modelId="{46F53550-0107-4711-901A-8C35D4679E93}" type="presOf" srcId="{3F8F7C63-6D9D-4496-99F3-13DF66B8EAD6}" destId="{DEBF50E0-4517-471F-B18E-2795B1F5C0A8}" srcOrd="0" destOrd="0"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7A204F5A-B6F2-4CC7-9C69-3CB267D6C465}" type="presOf" srcId="{9A4DB8F8-8EFE-4EFC-93BD-93BDF119A9C1}" destId="{F9540AD5-4F34-4720-A853-23023519F2F5}" srcOrd="0" destOrd="8"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DEB2197F-13BC-484A-8EDF-C647F1100AA3}" srcId="{3F8F7C63-6D9D-4496-99F3-13DF66B8EAD6}" destId="{FA52E312-6273-4A57-9BE3-AEC692A43FC0}" srcOrd="4" destOrd="0" parTransId="{EC29CCC8-CEB1-4A45-9EF3-241E5EE75178}" sibTransId="{BEB87085-5200-4865-93A2-5AE4D06E47C3}"/>
    <dgm:cxn modelId="{AC608A87-AFAC-4122-B89E-174D160545B7}" srcId="{3F8F7C63-6D9D-4496-99F3-13DF66B8EAD6}" destId="{9A4DB8F8-8EFE-4EFC-93BD-93BDF119A9C1}" srcOrd="8" destOrd="0" parTransId="{130010CD-C8E0-4E27-9501-807B48404F20}" sibTransId="{55AC7668-D0A1-42A4-A259-196B8BCF5FEA}"/>
    <dgm:cxn modelId="{3790F588-BD57-4CCE-B91D-33379F88B9D6}" type="presOf" srcId="{F44527D1-3623-4718-A5C7-590A95354660}" destId="{CD66AAD5-A74B-4989-8AD5-348B79FA87C7}" srcOrd="0" destOrd="0" presId="urn:microsoft.com/office/officeart/2005/8/layout/hList1"/>
    <dgm:cxn modelId="{21DD188E-BA90-4338-AD4C-9C76158552EB}" type="presOf" srcId="{E171E9BA-6A14-4189-BA03-F4B604EADB19}" destId="{F9540AD5-4F34-4720-A853-23023519F2F5}" srcOrd="0" destOrd="7" presId="urn:microsoft.com/office/officeart/2005/8/layout/hList1"/>
    <dgm:cxn modelId="{5B95AB92-3AFB-4339-B93D-7552FFF74793}" srcId="{3F8F7C63-6D9D-4496-99F3-13DF66B8EAD6}" destId="{E171E9BA-6A14-4189-BA03-F4B604EADB19}" srcOrd="7" destOrd="0" parTransId="{097B5464-F837-4FC4-A150-5109CF2D99DC}" sibTransId="{D86A599A-952D-4B9D-AE50-0CBDCE3AAA67}"/>
    <dgm:cxn modelId="{8C63B698-8A4E-457D-994E-67C74BAEA65D}" srcId="{3F8F7C63-6D9D-4496-99F3-13DF66B8EAD6}" destId="{630C8C32-A979-40C7-BDD7-71A76577670D}" srcOrd="0" destOrd="0" parTransId="{A072B589-234B-4E81-93D6-F23076B69245}" sibTransId="{BC580252-AC53-48E5-98C9-B7684010D558}"/>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499B0CA8-5A28-4F3A-AF92-30F09620EB6A}" type="presOf" srcId="{98E9E80D-99C6-4D95-ADA3-154C4B59F85F}" destId="{CD66AAD5-A74B-4989-8AD5-348B79FA87C7}" srcOrd="0" destOrd="4" presId="urn:microsoft.com/office/officeart/2005/8/layout/hList1"/>
    <dgm:cxn modelId="{B694E2A8-6C19-4423-80F8-C0DF30D4F0BF}" type="presOf" srcId="{9B78BEB6-50E8-438E-8214-F21EF6978EAC}" destId="{FE6D297C-C9E0-4A7D-A12A-BA53DEE78AEC}" srcOrd="0" destOrd="1" presId="urn:microsoft.com/office/officeart/2005/8/layout/hList1"/>
    <dgm:cxn modelId="{1EFF9DA9-CF00-46AF-8D64-BBDA266A3CFB}" srcId="{3F8F7C63-6D9D-4496-99F3-13DF66B8EAD6}" destId="{CA81DCF0-A0D1-44C1-B800-E245C8B683B7}" srcOrd="3" destOrd="0" parTransId="{1B104CC6-EFC8-4F65-9ADD-B4D5BD48842B}" sibTransId="{52A93A8D-281B-44AA-8C27-7890CF9F5D39}"/>
    <dgm:cxn modelId="{533B33B0-F780-445E-9B62-7F84DB009051}" srcId="{AC11CA59-F486-473C-AE1A-BD3E159BD48A}" destId="{639BF8EA-4D33-4B30-911B-6776BADCAC46}" srcOrd="3" destOrd="0" parTransId="{73779F8B-B701-4BB6-9E77-1298E5928771}" sibTransId="{02641D1F-193F-4370-8212-3D28CA0839D7}"/>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DE69A0BD-819F-4DCA-99E0-91F271029230}" srcId="{3F8F7C63-6D9D-4496-99F3-13DF66B8EAD6}" destId="{97709F8C-FC85-4C6B-8528-ED4965BEB559}" srcOrd="9" destOrd="0" parTransId="{4CEC39CA-975C-4C83-9D90-9DE8413FA03E}" sibTransId="{D27916A1-C435-47AC-8F8F-5A6DF8D199FF}"/>
    <dgm:cxn modelId="{626627BF-C8D1-4550-B774-515B215D77F2}" type="presOf" srcId="{BD774B89-4822-4DCB-BF35-41F9289F8177}" destId="{F9540AD5-4F34-4720-A853-23023519F2F5}" srcOrd="0" destOrd="6"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99E800C7-7367-4A66-AEB5-F4E434BAC45F}" srcId="{3F8F7C63-6D9D-4496-99F3-13DF66B8EAD6}" destId="{F05DED01-7AEE-4634-9FDC-8AC932E8C969}" srcOrd="10" destOrd="0" parTransId="{F9F8772D-1827-4065-9F30-2A8E27142504}" sibTransId="{902FF6AB-514A-40A6-8434-CF4101310CE7}"/>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77F991D3-6F86-4C0D-9C84-7336C3C1E19D}" type="presOf" srcId="{97709F8C-FC85-4C6B-8528-ED4965BEB559}" destId="{F9540AD5-4F34-4720-A853-23023519F2F5}" srcOrd="0" destOrd="9" presId="urn:microsoft.com/office/officeart/2005/8/layout/hList1"/>
    <dgm:cxn modelId="{5F9206D8-7CF1-4EEB-9E39-F6949420C72B}" type="presOf" srcId="{4B9E0442-77A6-43AE-9C64-EB04A69EA092}" destId="{F9540AD5-4F34-4720-A853-23023519F2F5}" srcOrd="0" destOrd="5" presId="urn:microsoft.com/office/officeart/2005/8/layout/hList1"/>
    <dgm:cxn modelId="{8DDC1ADB-9E6E-40DA-9619-78E3E14E333C}" type="presOf" srcId="{48ED9057-4374-4D05-93BB-89988B4475A3}" destId="{6BCC47BA-0C21-4EC9-8F7B-D9BCA5C8EC21}"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74C4E1E2-6EC4-488C-8ABD-6F0D3E3DF679}" type="presOf" srcId="{BA4C32B8-CB34-4CE9-9107-40D10DCF01DE}" destId="{F9540AD5-4F34-4720-A853-23023519F2F5}" srcOrd="0" destOrd="2" presId="urn:microsoft.com/office/officeart/2005/8/layout/hList1"/>
    <dgm:cxn modelId="{B329AEE8-4543-402A-AA06-29F3A101607E}" type="presOf" srcId="{DF86A6E5-580E-4F2A-B223-B458E5A97CE4}" destId="{19CDF2AB-3B0B-41CB-AD00-E99839314F1A}" srcOrd="0" destOrd="0"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701AECED-5325-4295-A693-8267EF53B223}" type="presOf" srcId="{3E642F35-97D9-4849-9004-96A0F376220D}" destId="{CD66AAD5-A74B-4989-8AD5-348B79FA87C7}" srcOrd="0" destOrd="2" presId="urn:microsoft.com/office/officeart/2005/8/layout/hList1"/>
    <dgm:cxn modelId="{BCD750F1-20C5-42F2-B82C-B9799ED084F6}" srcId="{3F8F7C63-6D9D-4496-99F3-13DF66B8EAD6}" destId="{F9E75D7C-98A7-41BB-95A1-89B8316862D6}" srcOrd="1" destOrd="0" parTransId="{8F7BCD5E-C5F9-4548-8D89-FAE3AB7C1141}" sibTransId="{2421EF1D-14E9-471D-92C3-B56B6E1D4B96}"/>
    <dgm:cxn modelId="{AEB8CEF2-B838-4CB2-8812-7851ADE3D758}" srcId="{AA0CC1A4-89B3-4AA2-AE39-4C1399639CA2}" destId="{9B78BEB6-50E8-438E-8214-F21EF6978EAC}" srcOrd="1" destOrd="0" parTransId="{061EEA83-2905-45BD-8FA7-D94853AE47E8}" sibTransId="{3B50534F-65A9-4DF9-B3EC-99A6C6D4B114}"/>
    <dgm:cxn modelId="{235AF3F2-4DC6-4ACE-9EC0-844AD822351F}" type="presOf" srcId="{8A005F68-872E-4565-97CF-5F934A8F7106}" destId="{569DA3D3-C2E5-4089-A6F0-CF7A0DE5293E}" srcOrd="0" destOrd="0"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CA689BB-9851-4758-B0A2-44952127A0D6}" type="doc">
      <dgm:prSet loTypeId="urn:microsoft.com/office/officeart/2005/8/layout/pyramid1" loCatId="pyramid" qsTypeId="urn:microsoft.com/office/officeart/2005/8/quickstyle/simple1" qsCatId="simple" csTypeId="urn:microsoft.com/office/officeart/2005/8/colors/accent1_2" csCatId="accent1" phldr="1"/>
      <dgm:spPr/>
    </dgm:pt>
    <dgm:pt modelId="{2D4708E9-EF6B-4110-93A4-B0C73A203109}">
      <dgm:prSet phldrT="[Text]" custT="1"/>
      <dgm:spPr>
        <a:solidFill>
          <a:srgbClr val="14848F"/>
        </a:solidFill>
      </dgm:spPr>
      <dgm:t>
        <a:bodyPr/>
        <a:lstStyle/>
        <a:p>
          <a:br>
            <a:rPr lang="en-US" sz="1200" b="1">
              <a:solidFill>
                <a:schemeClr val="bg1"/>
              </a:solidFill>
            </a:rPr>
          </a:br>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a:t>
          </a:r>
          <a:br>
            <a:rPr lang="en-US" sz="1200" b="1">
              <a:solidFill>
                <a:schemeClr val="bg1"/>
              </a:solidFill>
            </a:rPr>
          </a:br>
          <a:r>
            <a:rPr lang="en-US" sz="1200" b="1">
              <a:solidFill>
                <a:schemeClr val="bg1"/>
              </a:solidFill>
            </a:rPr>
            <a:t>Virtual Agents</a:t>
          </a:r>
        </a:p>
      </dgm:t>
    </dgm:pt>
    <dgm:pt modelId="{9101C663-4F32-4A06-AD8E-F085ADD1CEF7}" type="parTrans" cxnId="{33087E07-DF36-4B83-9592-3D5990424564}">
      <dgm:prSet/>
      <dgm:spPr/>
      <dgm:t>
        <a:bodyPr/>
        <a:lstStyle/>
        <a:p>
          <a:endParaRPr lang="en-US">
            <a:solidFill>
              <a:schemeClr val="bg1"/>
            </a:solidFill>
          </a:endParaRPr>
        </a:p>
      </dgm:t>
    </dgm:pt>
    <dgm:pt modelId="{A512244F-A508-40C1-8CCD-ACD6B7644B1A}" type="sibTrans" cxnId="{33087E07-DF36-4B83-9592-3D5990424564}">
      <dgm:prSet/>
      <dgm:spPr/>
      <dgm:t>
        <a:bodyPr/>
        <a:lstStyle/>
        <a:p>
          <a:endParaRPr lang="en-US">
            <a:solidFill>
              <a:schemeClr val="bg1"/>
            </a:solidFill>
          </a:endParaRPr>
        </a:p>
      </dgm:t>
    </dgm:pt>
    <dgm:pt modelId="{6F180097-45F6-4633-A7BA-48263CF4B682}">
      <dgm:prSet phldrT="[Text]" custT="1"/>
      <dgm:spPr>
        <a:solidFill>
          <a:schemeClr val="bg2">
            <a:lumMod val="90000"/>
          </a:schemeClr>
        </a:solidFill>
      </dgm:spPr>
      <dgm:t>
        <a:bodyPr lIns="0" rIns="0"/>
        <a:lstStyle/>
        <a:p>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Platform</a:t>
          </a:r>
          <a:br>
            <a:rPr lang="en-US" sz="1200" b="1">
              <a:solidFill>
                <a:schemeClr val="bg1"/>
              </a:solidFill>
            </a:rPr>
          </a:br>
          <a:r>
            <a:rPr lang="en-US" sz="1200" b="0">
              <a:solidFill>
                <a:schemeClr val="bg1"/>
              </a:solidFill>
            </a:rPr>
            <a:t>Access to Flow, custom models through AI Builders and 100s of pre-built connectors</a:t>
          </a:r>
        </a:p>
      </dgm:t>
    </dgm:pt>
    <dgm:pt modelId="{5676EB2C-3901-4F2D-843A-0034514FC257}" type="parTrans" cxnId="{5C641A40-E02E-4CCA-87BE-78EDDB341024}">
      <dgm:prSet/>
      <dgm:spPr/>
      <dgm:t>
        <a:bodyPr/>
        <a:lstStyle/>
        <a:p>
          <a:endParaRPr lang="en-US">
            <a:solidFill>
              <a:schemeClr val="bg1"/>
            </a:solidFill>
          </a:endParaRPr>
        </a:p>
      </dgm:t>
    </dgm:pt>
    <dgm:pt modelId="{722B9046-FAF6-4A05-AA6E-062351CDA617}" type="sibTrans" cxnId="{5C641A40-E02E-4CCA-87BE-78EDDB341024}">
      <dgm:prSet/>
      <dgm:spPr/>
      <dgm:t>
        <a:bodyPr/>
        <a:lstStyle/>
        <a:p>
          <a:endParaRPr lang="en-US">
            <a:solidFill>
              <a:schemeClr val="bg1"/>
            </a:solidFill>
          </a:endParaRPr>
        </a:p>
      </dgm:t>
    </dgm:pt>
    <dgm:pt modelId="{9B7ADE21-A710-43A9-8CC3-C06271374498}">
      <dgm:prSet phldrT="[Text]" custT="1"/>
      <dgm:spPr>
        <a:solidFill>
          <a:schemeClr val="bg2">
            <a:lumMod val="75000"/>
          </a:schemeClr>
        </a:solidFill>
      </dgm:spPr>
      <dgm:t>
        <a:bodyPr/>
        <a:lstStyle/>
        <a:p>
          <a:br>
            <a:rPr lang="en-US" sz="1200" b="1">
              <a:solidFill>
                <a:schemeClr val="bg1"/>
              </a:solidFill>
            </a:rPr>
          </a:br>
          <a:r>
            <a:rPr lang="en-US" sz="1200" b="1">
              <a:solidFill>
                <a:schemeClr val="bg1"/>
              </a:solidFill>
            </a:rPr>
            <a:t>Azure Bot Service</a:t>
          </a:r>
          <a:br>
            <a:rPr lang="en-US" sz="1200" b="1">
              <a:solidFill>
                <a:schemeClr val="bg1"/>
              </a:solidFill>
            </a:rPr>
          </a:br>
          <a:r>
            <a:rPr lang="en-US" sz="1200" b="0">
              <a:solidFill>
                <a:schemeClr val="bg1"/>
              </a:solidFill>
            </a:rPr>
            <a:t>Easy, no-cliff access to the full power </a:t>
          </a:r>
          <a:br>
            <a:rPr lang="en-US" sz="1200" b="0">
              <a:solidFill>
                <a:schemeClr val="bg1"/>
              </a:solidFill>
            </a:rPr>
          </a:br>
          <a:r>
            <a:rPr lang="en-US" sz="1200" b="0">
              <a:solidFill>
                <a:schemeClr val="bg1"/>
              </a:solidFill>
            </a:rPr>
            <a:t>of the Azure Bot Framework</a:t>
          </a:r>
          <a:endParaRPr lang="en-US" sz="1200" b="1">
            <a:solidFill>
              <a:schemeClr val="bg1"/>
            </a:solidFill>
          </a:endParaRPr>
        </a:p>
      </dgm:t>
    </dgm:pt>
    <dgm:pt modelId="{27960F5F-6046-405E-8C01-3A47B7398B73}" type="parTrans" cxnId="{A4B1799A-2C21-43F8-98FF-1493FE73D3E7}">
      <dgm:prSet/>
      <dgm:spPr/>
      <dgm:t>
        <a:bodyPr/>
        <a:lstStyle/>
        <a:p>
          <a:endParaRPr lang="en-US">
            <a:solidFill>
              <a:schemeClr val="bg1"/>
            </a:solidFill>
          </a:endParaRPr>
        </a:p>
      </dgm:t>
    </dgm:pt>
    <dgm:pt modelId="{6FEFC5EE-6496-47E0-B1A6-3FB4E64C56E8}" type="sibTrans" cxnId="{A4B1799A-2C21-43F8-98FF-1493FE73D3E7}">
      <dgm:prSet/>
      <dgm:spPr/>
      <dgm:t>
        <a:bodyPr/>
        <a:lstStyle/>
        <a:p>
          <a:endParaRPr lang="en-US">
            <a:solidFill>
              <a:schemeClr val="bg1"/>
            </a:solidFill>
          </a:endParaRPr>
        </a:p>
      </dgm:t>
    </dgm:pt>
    <dgm:pt modelId="{A42CF368-5F0E-42FD-8945-0486D2386434}">
      <dgm:prSet phldrT="[Text]" custT="1"/>
      <dgm:spPr>
        <a:solidFill>
          <a:schemeClr val="tx1">
            <a:lumMod val="50000"/>
            <a:lumOff val="50000"/>
          </a:schemeClr>
        </a:solidFill>
      </dgm:spPr>
      <dgm:t>
        <a:bodyPr/>
        <a:lstStyle/>
        <a:p>
          <a:br>
            <a:rPr lang="en-US" sz="1200" b="1">
              <a:solidFill>
                <a:schemeClr val="bg1"/>
              </a:solidFill>
            </a:rPr>
          </a:br>
          <a:r>
            <a:rPr lang="en-US" sz="1200" b="1">
              <a:solidFill>
                <a:schemeClr val="bg1"/>
              </a:solidFill>
            </a:rPr>
            <a:t>Azure Cognitive Services</a:t>
          </a:r>
        </a:p>
        <a:p>
          <a:r>
            <a:rPr lang="en-US" sz="1200" b="0">
              <a:solidFill>
                <a:schemeClr val="bg1"/>
              </a:solidFill>
            </a:rPr>
            <a:t>Integrated with Azure Cognitive Services</a:t>
          </a:r>
        </a:p>
      </dgm:t>
    </dgm:pt>
    <dgm:pt modelId="{6FD05D23-419B-4906-B7CE-7B428792EADE}" type="parTrans" cxnId="{D52B2716-6097-4A5A-AE02-B61064A70D65}">
      <dgm:prSet/>
      <dgm:spPr/>
      <dgm:t>
        <a:bodyPr/>
        <a:lstStyle/>
        <a:p>
          <a:endParaRPr lang="en-US">
            <a:solidFill>
              <a:schemeClr val="bg1"/>
            </a:solidFill>
          </a:endParaRPr>
        </a:p>
      </dgm:t>
    </dgm:pt>
    <dgm:pt modelId="{01194177-4336-43A4-8F8F-8B68CCCC01B2}" type="sibTrans" cxnId="{D52B2716-6097-4A5A-AE02-B61064A70D65}">
      <dgm:prSet/>
      <dgm:spPr/>
      <dgm:t>
        <a:bodyPr/>
        <a:lstStyle/>
        <a:p>
          <a:endParaRPr lang="en-US">
            <a:solidFill>
              <a:schemeClr val="bg1"/>
            </a:solidFill>
          </a:endParaRPr>
        </a:p>
      </dgm:t>
    </dgm:pt>
    <dgm:pt modelId="{6BF5FCF7-33AB-4689-B5E2-87A1D0FD4EE7}" type="pres">
      <dgm:prSet presAssocID="{0CA689BB-9851-4758-B0A2-44952127A0D6}" presName="Name0" presStyleCnt="0">
        <dgm:presLayoutVars>
          <dgm:dir/>
          <dgm:animLvl val="lvl"/>
          <dgm:resizeHandles val="exact"/>
        </dgm:presLayoutVars>
      </dgm:prSet>
      <dgm:spPr/>
    </dgm:pt>
    <dgm:pt modelId="{9198DCDF-C512-46D8-90F0-C47E06BFD57B}" type="pres">
      <dgm:prSet presAssocID="{2D4708E9-EF6B-4110-93A4-B0C73A203109}" presName="Name8" presStyleCnt="0"/>
      <dgm:spPr/>
    </dgm:pt>
    <dgm:pt modelId="{CF2D95FC-F19F-464B-8466-A2C57EBFB022}" type="pres">
      <dgm:prSet presAssocID="{2D4708E9-EF6B-4110-93A4-B0C73A203109}" presName="level" presStyleLbl="node1" presStyleIdx="0" presStyleCnt="4" custLinFactNeighborX="-380">
        <dgm:presLayoutVars>
          <dgm:chMax val="1"/>
          <dgm:bulletEnabled val="1"/>
        </dgm:presLayoutVars>
      </dgm:prSet>
      <dgm:spPr/>
    </dgm:pt>
    <dgm:pt modelId="{68ACCEFF-C501-446C-BCF7-69227FB0834D}" type="pres">
      <dgm:prSet presAssocID="{2D4708E9-EF6B-4110-93A4-B0C73A203109}" presName="levelTx" presStyleLbl="revTx" presStyleIdx="0" presStyleCnt="0">
        <dgm:presLayoutVars>
          <dgm:chMax val="1"/>
          <dgm:bulletEnabled val="1"/>
        </dgm:presLayoutVars>
      </dgm:prSet>
      <dgm:spPr/>
    </dgm:pt>
    <dgm:pt modelId="{9ADE5FEB-A690-448B-AA62-734FCC79B3C1}" type="pres">
      <dgm:prSet presAssocID="{6F180097-45F6-4633-A7BA-48263CF4B682}" presName="Name8" presStyleCnt="0"/>
      <dgm:spPr/>
    </dgm:pt>
    <dgm:pt modelId="{41D82750-C933-42F1-9201-D937930BE74D}" type="pres">
      <dgm:prSet presAssocID="{6F180097-45F6-4633-A7BA-48263CF4B682}" presName="level" presStyleLbl="node1" presStyleIdx="1" presStyleCnt="4" custLinFactNeighborX="-190">
        <dgm:presLayoutVars>
          <dgm:chMax val="1"/>
          <dgm:bulletEnabled val="1"/>
        </dgm:presLayoutVars>
      </dgm:prSet>
      <dgm:spPr/>
    </dgm:pt>
    <dgm:pt modelId="{1DD5B933-0915-43E5-8FC6-E465F3DA2CFA}" type="pres">
      <dgm:prSet presAssocID="{6F180097-45F6-4633-A7BA-48263CF4B682}" presName="levelTx" presStyleLbl="revTx" presStyleIdx="0" presStyleCnt="0">
        <dgm:presLayoutVars>
          <dgm:chMax val="1"/>
          <dgm:bulletEnabled val="1"/>
        </dgm:presLayoutVars>
      </dgm:prSet>
      <dgm:spPr/>
    </dgm:pt>
    <dgm:pt modelId="{E92ABE58-E105-43CD-A613-5B47247926EA}" type="pres">
      <dgm:prSet presAssocID="{9B7ADE21-A710-43A9-8CC3-C06271374498}" presName="Name8" presStyleCnt="0"/>
      <dgm:spPr/>
    </dgm:pt>
    <dgm:pt modelId="{937E9428-BFF3-4EAC-858D-446F6AEA9D99}" type="pres">
      <dgm:prSet presAssocID="{9B7ADE21-A710-43A9-8CC3-C06271374498}" presName="level" presStyleLbl="node1" presStyleIdx="2" presStyleCnt="4" custLinFactNeighborX="-127">
        <dgm:presLayoutVars>
          <dgm:chMax val="1"/>
          <dgm:bulletEnabled val="1"/>
        </dgm:presLayoutVars>
      </dgm:prSet>
      <dgm:spPr/>
    </dgm:pt>
    <dgm:pt modelId="{B4219A4A-42B1-471D-9296-F1436D09C5C0}" type="pres">
      <dgm:prSet presAssocID="{9B7ADE21-A710-43A9-8CC3-C06271374498}" presName="levelTx" presStyleLbl="revTx" presStyleIdx="0" presStyleCnt="0">
        <dgm:presLayoutVars>
          <dgm:chMax val="1"/>
          <dgm:bulletEnabled val="1"/>
        </dgm:presLayoutVars>
      </dgm:prSet>
      <dgm:spPr/>
    </dgm:pt>
    <dgm:pt modelId="{D98ABCBB-528A-406D-A487-D54D43B27E74}" type="pres">
      <dgm:prSet presAssocID="{A42CF368-5F0E-42FD-8945-0486D2386434}" presName="Name8" presStyleCnt="0"/>
      <dgm:spPr/>
    </dgm:pt>
    <dgm:pt modelId="{09DA4951-12F8-46C1-A0B1-5560779D2965}" type="pres">
      <dgm:prSet presAssocID="{A42CF368-5F0E-42FD-8945-0486D2386434}" presName="level" presStyleLbl="node1" presStyleIdx="3" presStyleCnt="4" custLinFactNeighborX="-95">
        <dgm:presLayoutVars>
          <dgm:chMax val="1"/>
          <dgm:bulletEnabled val="1"/>
        </dgm:presLayoutVars>
      </dgm:prSet>
      <dgm:spPr/>
    </dgm:pt>
    <dgm:pt modelId="{1F75032D-39E4-4E6B-BAC9-7F9EA5DAFE11}" type="pres">
      <dgm:prSet presAssocID="{A42CF368-5F0E-42FD-8945-0486D2386434}" presName="levelTx" presStyleLbl="revTx" presStyleIdx="0" presStyleCnt="0">
        <dgm:presLayoutVars>
          <dgm:chMax val="1"/>
          <dgm:bulletEnabled val="1"/>
        </dgm:presLayoutVars>
      </dgm:prSet>
      <dgm:spPr/>
    </dgm:pt>
  </dgm:ptLst>
  <dgm:cxnLst>
    <dgm:cxn modelId="{33087E07-DF36-4B83-9592-3D5990424564}" srcId="{0CA689BB-9851-4758-B0A2-44952127A0D6}" destId="{2D4708E9-EF6B-4110-93A4-B0C73A203109}" srcOrd="0" destOrd="0" parTransId="{9101C663-4F32-4A06-AD8E-F085ADD1CEF7}" sibTransId="{A512244F-A508-40C1-8CCD-ACD6B7644B1A}"/>
    <dgm:cxn modelId="{D52B2716-6097-4A5A-AE02-B61064A70D65}" srcId="{0CA689BB-9851-4758-B0A2-44952127A0D6}" destId="{A42CF368-5F0E-42FD-8945-0486D2386434}" srcOrd="3" destOrd="0" parTransId="{6FD05D23-419B-4906-B7CE-7B428792EADE}" sibTransId="{01194177-4336-43A4-8F8F-8B68CCCC01B2}"/>
    <dgm:cxn modelId="{90B8CF23-D20E-477E-90E0-AF728003A670}" type="presOf" srcId="{2D4708E9-EF6B-4110-93A4-B0C73A203109}" destId="{68ACCEFF-C501-446C-BCF7-69227FB0834D}" srcOrd="1" destOrd="0" presId="urn:microsoft.com/office/officeart/2005/8/layout/pyramid1"/>
    <dgm:cxn modelId="{12F33F25-3D91-4A8F-8BB9-288454BD5B3E}" type="presOf" srcId="{A42CF368-5F0E-42FD-8945-0486D2386434}" destId="{09DA4951-12F8-46C1-A0B1-5560779D2965}" srcOrd="0" destOrd="0" presId="urn:microsoft.com/office/officeart/2005/8/layout/pyramid1"/>
    <dgm:cxn modelId="{5C641A40-E02E-4CCA-87BE-78EDDB341024}" srcId="{0CA689BB-9851-4758-B0A2-44952127A0D6}" destId="{6F180097-45F6-4633-A7BA-48263CF4B682}" srcOrd="1" destOrd="0" parTransId="{5676EB2C-3901-4F2D-843A-0034514FC257}" sibTransId="{722B9046-FAF6-4A05-AA6E-062351CDA617}"/>
    <dgm:cxn modelId="{82B84B56-B8BA-4FFC-B043-655263AC1A45}" type="presOf" srcId="{A42CF368-5F0E-42FD-8945-0486D2386434}" destId="{1F75032D-39E4-4E6B-BAC9-7F9EA5DAFE11}" srcOrd="1" destOrd="0" presId="urn:microsoft.com/office/officeart/2005/8/layout/pyramid1"/>
    <dgm:cxn modelId="{07302696-9517-46B5-BEBC-834530E29C1F}" type="presOf" srcId="{6F180097-45F6-4633-A7BA-48263CF4B682}" destId="{1DD5B933-0915-43E5-8FC6-E465F3DA2CFA}" srcOrd="1" destOrd="0" presId="urn:microsoft.com/office/officeart/2005/8/layout/pyramid1"/>
    <dgm:cxn modelId="{EF48B896-4D5E-4722-954F-A4A81152EDA1}" type="presOf" srcId="{2D4708E9-EF6B-4110-93A4-B0C73A203109}" destId="{CF2D95FC-F19F-464B-8466-A2C57EBFB022}" srcOrd="0" destOrd="0" presId="urn:microsoft.com/office/officeart/2005/8/layout/pyramid1"/>
    <dgm:cxn modelId="{A4B1799A-2C21-43F8-98FF-1493FE73D3E7}" srcId="{0CA689BB-9851-4758-B0A2-44952127A0D6}" destId="{9B7ADE21-A710-43A9-8CC3-C06271374498}" srcOrd="2" destOrd="0" parTransId="{27960F5F-6046-405E-8C01-3A47B7398B73}" sibTransId="{6FEFC5EE-6496-47E0-B1A6-3FB4E64C56E8}"/>
    <dgm:cxn modelId="{C511ABA0-BE42-4412-B52B-C27AD3697725}" type="presOf" srcId="{6F180097-45F6-4633-A7BA-48263CF4B682}" destId="{41D82750-C933-42F1-9201-D937930BE74D}" srcOrd="0" destOrd="0" presId="urn:microsoft.com/office/officeart/2005/8/layout/pyramid1"/>
    <dgm:cxn modelId="{9D7802C8-FD45-4F46-AD27-C7FD6E086F0E}" type="presOf" srcId="{0CA689BB-9851-4758-B0A2-44952127A0D6}" destId="{6BF5FCF7-33AB-4689-B5E2-87A1D0FD4EE7}" srcOrd="0" destOrd="0" presId="urn:microsoft.com/office/officeart/2005/8/layout/pyramid1"/>
    <dgm:cxn modelId="{E759F1D9-D757-4AB7-AA36-83DE17AC6DE3}" type="presOf" srcId="{9B7ADE21-A710-43A9-8CC3-C06271374498}" destId="{937E9428-BFF3-4EAC-858D-446F6AEA9D99}" srcOrd="0" destOrd="0" presId="urn:microsoft.com/office/officeart/2005/8/layout/pyramid1"/>
    <dgm:cxn modelId="{4C471DE7-7DAD-459C-BBE4-5BE730BE131A}" type="presOf" srcId="{9B7ADE21-A710-43A9-8CC3-C06271374498}" destId="{B4219A4A-42B1-471D-9296-F1436D09C5C0}" srcOrd="1" destOrd="0" presId="urn:microsoft.com/office/officeart/2005/8/layout/pyramid1"/>
    <dgm:cxn modelId="{CE279CBC-4D6F-49C0-9CCE-6A1B4537A16E}" type="presParOf" srcId="{6BF5FCF7-33AB-4689-B5E2-87A1D0FD4EE7}" destId="{9198DCDF-C512-46D8-90F0-C47E06BFD57B}" srcOrd="0" destOrd="0" presId="urn:microsoft.com/office/officeart/2005/8/layout/pyramid1"/>
    <dgm:cxn modelId="{BC8D4F7F-6947-43A2-AEBD-BD42F584BE23}" type="presParOf" srcId="{9198DCDF-C512-46D8-90F0-C47E06BFD57B}" destId="{CF2D95FC-F19F-464B-8466-A2C57EBFB022}" srcOrd="0" destOrd="0" presId="urn:microsoft.com/office/officeart/2005/8/layout/pyramid1"/>
    <dgm:cxn modelId="{13DC2C66-F793-46C3-B39E-49608F060DBF}" type="presParOf" srcId="{9198DCDF-C512-46D8-90F0-C47E06BFD57B}" destId="{68ACCEFF-C501-446C-BCF7-69227FB0834D}" srcOrd="1" destOrd="0" presId="urn:microsoft.com/office/officeart/2005/8/layout/pyramid1"/>
    <dgm:cxn modelId="{419C6C2C-C441-4013-BE4A-008D191E76C9}" type="presParOf" srcId="{6BF5FCF7-33AB-4689-B5E2-87A1D0FD4EE7}" destId="{9ADE5FEB-A690-448B-AA62-734FCC79B3C1}" srcOrd="1" destOrd="0" presId="urn:microsoft.com/office/officeart/2005/8/layout/pyramid1"/>
    <dgm:cxn modelId="{5071F43F-1221-4341-83CE-24D52928505C}" type="presParOf" srcId="{9ADE5FEB-A690-448B-AA62-734FCC79B3C1}" destId="{41D82750-C933-42F1-9201-D937930BE74D}" srcOrd="0" destOrd="0" presId="urn:microsoft.com/office/officeart/2005/8/layout/pyramid1"/>
    <dgm:cxn modelId="{CB596F7E-BB43-4EFB-8860-8399D584DA27}" type="presParOf" srcId="{9ADE5FEB-A690-448B-AA62-734FCC79B3C1}" destId="{1DD5B933-0915-43E5-8FC6-E465F3DA2CFA}" srcOrd="1" destOrd="0" presId="urn:microsoft.com/office/officeart/2005/8/layout/pyramid1"/>
    <dgm:cxn modelId="{BDC88E0F-62B5-4457-9B5D-419CB4EC29E1}" type="presParOf" srcId="{6BF5FCF7-33AB-4689-B5E2-87A1D0FD4EE7}" destId="{E92ABE58-E105-43CD-A613-5B47247926EA}" srcOrd="2" destOrd="0" presId="urn:microsoft.com/office/officeart/2005/8/layout/pyramid1"/>
    <dgm:cxn modelId="{B19BBB49-ED4E-4B52-995D-AFFC3E9D2F11}" type="presParOf" srcId="{E92ABE58-E105-43CD-A613-5B47247926EA}" destId="{937E9428-BFF3-4EAC-858D-446F6AEA9D99}" srcOrd="0" destOrd="0" presId="urn:microsoft.com/office/officeart/2005/8/layout/pyramid1"/>
    <dgm:cxn modelId="{04E1E409-92E9-4086-9BA9-89334099D9B1}" type="presParOf" srcId="{E92ABE58-E105-43CD-A613-5B47247926EA}" destId="{B4219A4A-42B1-471D-9296-F1436D09C5C0}" srcOrd="1" destOrd="0" presId="urn:microsoft.com/office/officeart/2005/8/layout/pyramid1"/>
    <dgm:cxn modelId="{9202548E-34B5-438D-80AC-4794F0483E99}" type="presParOf" srcId="{6BF5FCF7-33AB-4689-B5E2-87A1D0FD4EE7}" destId="{D98ABCBB-528A-406D-A487-D54D43B27E74}" srcOrd="3" destOrd="0" presId="urn:microsoft.com/office/officeart/2005/8/layout/pyramid1"/>
    <dgm:cxn modelId="{05D93CD2-D5E9-4AD3-88D3-FF0F8232A488}" type="presParOf" srcId="{D98ABCBB-528A-406D-A487-D54D43B27E74}" destId="{09DA4951-12F8-46C1-A0B1-5560779D2965}" srcOrd="0" destOrd="0" presId="urn:microsoft.com/office/officeart/2005/8/layout/pyramid1"/>
    <dgm:cxn modelId="{1102FBB9-2647-4F2B-80B7-8F4897E5F210}" type="presParOf" srcId="{D98ABCBB-528A-406D-A487-D54D43B27E74}" destId="{1F75032D-39E4-4E6B-BAC9-7F9EA5DAFE11}"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289383"/>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289383"/>
        <a:ext cx="2016677" cy="806670"/>
      </dsp:txXfrm>
    </dsp:sp>
    <dsp:sp modelId="{F9540AD5-4F34-4720-A853-23023519F2F5}">
      <dsp:nvSpPr>
        <dsp:cNvPr id="0" name=""/>
        <dsp:cNvSpPr/>
      </dsp:nvSpPr>
      <dsp:spPr>
        <a:xfrm>
          <a:off x="5260" y="1096054"/>
          <a:ext cx="2016677" cy="330086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Introduction</a:t>
          </a:r>
          <a:endParaRPr lang="en-AU" sz="1050" kern="1200" dirty="0"/>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The 5x5 Principle</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Customer momentum: Power BI</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Power BI Desktop</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Data sources</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Power Query</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Dataflow</a:t>
          </a:r>
        </a:p>
        <a:p>
          <a:pPr marL="57150" lvl="1" indent="-57150" algn="l" defTabSz="466725">
            <a:lnSpc>
              <a:spcPct val="150000"/>
            </a:lnSpc>
            <a:spcBef>
              <a:spcPct val="0"/>
            </a:spcBef>
            <a:spcAft>
              <a:spcPct val="15000"/>
            </a:spcAft>
            <a:buFont typeface="Wingdings" panose="05000000000000000000" pitchFamily="2" charset="2"/>
            <a:buChar char="ü"/>
          </a:pPr>
          <a:r>
            <a:rPr lang="en-US" sz="1050" kern="1200" dirty="0"/>
            <a:t>Using a Calculation (DAX) in multiple files</a:t>
          </a:r>
          <a:endParaRPr lang="en-GB" sz="1050" kern="1200" dirty="0"/>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Paginated Reporting</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Power BI Admin Portal </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Demo</a:t>
          </a:r>
        </a:p>
      </dsp:txBody>
      <dsp:txXfrm>
        <a:off x="5260" y="1096054"/>
        <a:ext cx="2016677" cy="3300862"/>
      </dsp:txXfrm>
    </dsp:sp>
    <dsp:sp modelId="{A15940E0-E524-4386-893B-E5C857ACD0DE}">
      <dsp:nvSpPr>
        <dsp:cNvPr id="0" name=""/>
        <dsp:cNvSpPr/>
      </dsp:nvSpPr>
      <dsp:spPr>
        <a:xfrm>
          <a:off x="2304273" y="289383"/>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289383"/>
        <a:ext cx="2016677" cy="806670"/>
      </dsp:txXfrm>
    </dsp:sp>
    <dsp:sp modelId="{CD66AAD5-A74B-4989-8AD5-348B79FA87C7}">
      <dsp:nvSpPr>
        <dsp:cNvPr id="0" name=""/>
        <dsp:cNvSpPr/>
      </dsp:nvSpPr>
      <dsp:spPr>
        <a:xfrm>
          <a:off x="2304273" y="1096054"/>
          <a:ext cx="2016677" cy="330086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Introduction</a:t>
          </a:r>
          <a:endParaRPr lang="en-AU" sz="1050" kern="1200" dirty="0"/>
        </a:p>
        <a:p>
          <a:pPr marL="57150" lvl="1" indent="-57150" algn="l" defTabSz="466725">
            <a:lnSpc>
              <a:spcPct val="150000"/>
            </a:lnSpc>
            <a:spcBef>
              <a:spcPct val="0"/>
            </a:spcBef>
            <a:spcAft>
              <a:spcPct val="15000"/>
            </a:spcAft>
            <a:buFont typeface="Wingdings" panose="05000000000000000000" pitchFamily="2" charset="2"/>
            <a:buChar char="ü"/>
          </a:pPr>
          <a:r>
            <a:rPr lang="en-US" sz="1050" kern="1200" dirty="0"/>
            <a:t>AI for every app. And everyone</a:t>
          </a:r>
          <a:endParaRPr lang="en-GB" sz="1050" kern="1200" dirty="0"/>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Setup Environment</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Types of AI Model</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Prediction</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Form processing</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Object detection</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Text classification</a:t>
          </a:r>
        </a:p>
        <a:p>
          <a:pPr marL="57150" lvl="1" indent="-57150" algn="l" defTabSz="466725">
            <a:lnSpc>
              <a:spcPct val="150000"/>
            </a:lnSpc>
            <a:spcBef>
              <a:spcPct val="0"/>
            </a:spcBef>
            <a:spcAft>
              <a:spcPct val="15000"/>
            </a:spcAft>
            <a:buFont typeface="Wingdings" panose="05000000000000000000" pitchFamily="2" charset="2"/>
            <a:buChar char="ü"/>
          </a:pPr>
          <a:r>
            <a:rPr lang="en-GB" sz="1050" kern="1200" dirty="0"/>
            <a:t>Demo</a:t>
          </a:r>
        </a:p>
      </dsp:txBody>
      <dsp:txXfrm>
        <a:off x="2304273" y="1096054"/>
        <a:ext cx="2016677" cy="3300862"/>
      </dsp:txXfrm>
    </dsp:sp>
    <dsp:sp modelId="{6D51457A-C3C5-41AF-B616-CDB4705EBFBD}">
      <dsp:nvSpPr>
        <dsp:cNvPr id="0" name=""/>
        <dsp:cNvSpPr/>
      </dsp:nvSpPr>
      <dsp:spPr>
        <a:xfrm>
          <a:off x="4603285" y="289383"/>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289383"/>
        <a:ext cx="2016677" cy="806670"/>
      </dsp:txXfrm>
    </dsp:sp>
    <dsp:sp modelId="{FE6D297C-C9E0-4A7D-A12A-BA53DEE78AEC}">
      <dsp:nvSpPr>
        <dsp:cNvPr id="0" name=""/>
        <dsp:cNvSpPr/>
      </dsp:nvSpPr>
      <dsp:spPr>
        <a:xfrm>
          <a:off x="4603285" y="1096054"/>
          <a:ext cx="2016677" cy="330086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endParaRPr lang="en-AU" sz="1100" kern="1200" dirty="0"/>
        </a:p>
        <a:p>
          <a:pPr marL="57150" lvl="1" indent="-57150" algn="l" defTabSz="488950">
            <a:lnSpc>
              <a:spcPct val="90000"/>
            </a:lnSpc>
            <a:spcBef>
              <a:spcPct val="0"/>
            </a:spcBef>
            <a:spcAft>
              <a:spcPct val="15000"/>
            </a:spcAft>
            <a:buChar char="•"/>
          </a:pPr>
          <a:r>
            <a:rPr lang="en-AU" sz="1100" kern="1200" dirty="0"/>
            <a:t>s</a:t>
          </a:r>
        </a:p>
      </dsp:txBody>
      <dsp:txXfrm>
        <a:off x="4603285" y="1096054"/>
        <a:ext cx="2016677" cy="3300862"/>
      </dsp:txXfrm>
    </dsp:sp>
    <dsp:sp modelId="{79AA2380-6C09-4C3E-A320-87D02EF11B92}">
      <dsp:nvSpPr>
        <dsp:cNvPr id="0" name=""/>
        <dsp:cNvSpPr/>
      </dsp:nvSpPr>
      <dsp:spPr>
        <a:xfrm>
          <a:off x="6902297" y="289383"/>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289383"/>
        <a:ext cx="2016677" cy="806670"/>
      </dsp:txXfrm>
    </dsp:sp>
    <dsp:sp modelId="{569DA3D3-C2E5-4089-A6F0-CF7A0DE5293E}">
      <dsp:nvSpPr>
        <dsp:cNvPr id="0" name=""/>
        <dsp:cNvSpPr/>
      </dsp:nvSpPr>
      <dsp:spPr>
        <a:xfrm>
          <a:off x="6902297" y="1096054"/>
          <a:ext cx="2016677" cy="330086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AU" sz="1100" kern="1200" dirty="0"/>
            <a:t>o</a:t>
          </a:r>
        </a:p>
      </dsp:txBody>
      <dsp:txXfrm>
        <a:off x="6902297" y="1096054"/>
        <a:ext cx="2016677" cy="3300862"/>
      </dsp:txXfrm>
    </dsp:sp>
    <dsp:sp modelId="{19CDF2AB-3B0B-41CB-AD00-E99839314F1A}">
      <dsp:nvSpPr>
        <dsp:cNvPr id="0" name=""/>
        <dsp:cNvSpPr/>
      </dsp:nvSpPr>
      <dsp:spPr>
        <a:xfrm>
          <a:off x="9201309" y="289383"/>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289383"/>
        <a:ext cx="2016677" cy="806670"/>
      </dsp:txXfrm>
    </dsp:sp>
    <dsp:sp modelId="{6BCC47BA-0C21-4EC9-8F7B-D9BCA5C8EC21}">
      <dsp:nvSpPr>
        <dsp:cNvPr id="0" name=""/>
        <dsp:cNvSpPr/>
      </dsp:nvSpPr>
      <dsp:spPr>
        <a:xfrm>
          <a:off x="9201309" y="1096054"/>
          <a:ext cx="2016677" cy="330086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endParaRPr lang="en-AU" sz="1100" kern="1200" dirty="0"/>
        </a:p>
        <a:p>
          <a:pPr marL="57150" lvl="1" indent="-57150" algn="l" defTabSz="488950">
            <a:lnSpc>
              <a:spcPct val="90000"/>
            </a:lnSpc>
            <a:spcBef>
              <a:spcPct val="0"/>
            </a:spcBef>
            <a:spcAft>
              <a:spcPct val="15000"/>
            </a:spcAft>
            <a:buChar char="•"/>
          </a:pPr>
          <a:r>
            <a:rPr lang="en-AU" sz="1100" kern="1200" dirty="0"/>
            <a:t>s</a:t>
          </a:r>
        </a:p>
      </dsp:txBody>
      <dsp:txXfrm>
        <a:off x="9201309" y="1096054"/>
        <a:ext cx="2016677" cy="3300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D95FC-F19F-464B-8466-A2C57EBFB022}">
      <dsp:nvSpPr>
        <dsp:cNvPr id="0" name=""/>
        <dsp:cNvSpPr/>
      </dsp:nvSpPr>
      <dsp:spPr>
        <a:xfrm>
          <a:off x="2514607" y="0"/>
          <a:ext cx="1680662" cy="1354666"/>
        </a:xfrm>
        <a:prstGeom prst="trapezoid">
          <a:avLst>
            <a:gd name="adj" fmla="val 62032"/>
          </a:avLst>
        </a:prstGeom>
        <a:solidFill>
          <a:srgbClr val="14848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a:t>
          </a:r>
          <a:br>
            <a:rPr lang="en-US" sz="1200" b="1" kern="1200">
              <a:solidFill>
                <a:schemeClr val="bg1"/>
              </a:solidFill>
            </a:rPr>
          </a:br>
          <a:r>
            <a:rPr lang="en-US" sz="1200" b="1" kern="1200">
              <a:solidFill>
                <a:schemeClr val="bg1"/>
              </a:solidFill>
            </a:rPr>
            <a:t>Virtual Agents</a:t>
          </a:r>
        </a:p>
      </dsp:txBody>
      <dsp:txXfrm>
        <a:off x="2514607" y="0"/>
        <a:ext cx="1680662" cy="1354666"/>
      </dsp:txXfrm>
    </dsp:sp>
    <dsp:sp modelId="{41D82750-C933-42F1-9201-D937930BE74D}">
      <dsp:nvSpPr>
        <dsp:cNvPr id="0" name=""/>
        <dsp:cNvSpPr/>
      </dsp:nvSpPr>
      <dsp:spPr>
        <a:xfrm>
          <a:off x="1674275" y="1354666"/>
          <a:ext cx="3361325" cy="1354666"/>
        </a:xfrm>
        <a:prstGeom prst="trapezoid">
          <a:avLst>
            <a:gd name="adj" fmla="val 62032"/>
          </a:avLst>
        </a:prstGeom>
        <a:solidFill>
          <a:schemeClr val="bg2">
            <a:lumMod val="9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Platform</a:t>
          </a:r>
          <a:br>
            <a:rPr lang="en-US" sz="1200" b="1" kern="1200">
              <a:solidFill>
                <a:schemeClr val="bg1"/>
              </a:solidFill>
            </a:rPr>
          </a:br>
          <a:r>
            <a:rPr lang="en-US" sz="1200" b="0" kern="1200">
              <a:solidFill>
                <a:schemeClr val="bg1"/>
              </a:solidFill>
            </a:rPr>
            <a:t>Access to Flow, custom models through AI Builders and 100s of pre-built connectors</a:t>
          </a:r>
        </a:p>
      </dsp:txBody>
      <dsp:txXfrm>
        <a:off x="2262507" y="1354666"/>
        <a:ext cx="2184861" cy="1354666"/>
      </dsp:txXfrm>
    </dsp:sp>
    <dsp:sp modelId="{937E9428-BFF3-4EAC-858D-446F6AEA9D99}">
      <dsp:nvSpPr>
        <dsp:cNvPr id="0" name=""/>
        <dsp:cNvSpPr/>
      </dsp:nvSpPr>
      <dsp:spPr>
        <a:xfrm>
          <a:off x="833927" y="2709333"/>
          <a:ext cx="5041987" cy="1354666"/>
        </a:xfrm>
        <a:prstGeom prst="trapezoid">
          <a:avLst>
            <a:gd name="adj" fmla="val 62032"/>
          </a:avLst>
        </a:prstGeom>
        <a:solidFill>
          <a:schemeClr val="bg2">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Bot Service</a:t>
          </a:r>
          <a:br>
            <a:rPr lang="en-US" sz="1200" b="1" kern="1200">
              <a:solidFill>
                <a:schemeClr val="bg1"/>
              </a:solidFill>
            </a:rPr>
          </a:br>
          <a:r>
            <a:rPr lang="en-US" sz="1200" b="0" kern="1200">
              <a:solidFill>
                <a:schemeClr val="bg1"/>
              </a:solidFill>
            </a:rPr>
            <a:t>Easy, no-cliff access to the full power </a:t>
          </a:r>
          <a:br>
            <a:rPr lang="en-US" sz="1200" b="0" kern="1200">
              <a:solidFill>
                <a:schemeClr val="bg1"/>
              </a:solidFill>
            </a:rPr>
          </a:br>
          <a:r>
            <a:rPr lang="en-US" sz="1200" b="0" kern="1200">
              <a:solidFill>
                <a:schemeClr val="bg1"/>
              </a:solidFill>
            </a:rPr>
            <a:t>of the Azure Bot Framework</a:t>
          </a:r>
          <a:endParaRPr lang="en-US" sz="1200" b="1" kern="1200">
            <a:solidFill>
              <a:schemeClr val="bg1"/>
            </a:solidFill>
          </a:endParaRPr>
        </a:p>
      </dsp:txBody>
      <dsp:txXfrm>
        <a:off x="1716275" y="2709333"/>
        <a:ext cx="3277291" cy="1354666"/>
      </dsp:txXfrm>
    </dsp:sp>
    <dsp:sp modelId="{09DA4951-12F8-46C1-A0B1-5560779D2965}">
      <dsp:nvSpPr>
        <dsp:cNvPr id="0" name=""/>
        <dsp:cNvSpPr/>
      </dsp:nvSpPr>
      <dsp:spPr>
        <a:xfrm>
          <a:off x="0" y="4064000"/>
          <a:ext cx="6722650" cy="1354666"/>
        </a:xfrm>
        <a:prstGeom prst="trapezoid">
          <a:avLst>
            <a:gd name="adj" fmla="val 62032"/>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Cognitive Services</a:t>
          </a:r>
        </a:p>
        <a:p>
          <a:pPr marL="0" lvl="0" indent="0" algn="ctr" defTabSz="533400">
            <a:lnSpc>
              <a:spcPct val="90000"/>
            </a:lnSpc>
            <a:spcBef>
              <a:spcPct val="0"/>
            </a:spcBef>
            <a:spcAft>
              <a:spcPct val="35000"/>
            </a:spcAft>
            <a:buNone/>
          </a:pPr>
          <a:r>
            <a:rPr lang="en-US" sz="1200" b="0" kern="1200">
              <a:solidFill>
                <a:schemeClr val="bg1"/>
              </a:solidFill>
            </a:rPr>
            <a:t>Integrated with Azure Cognitive Services</a:t>
          </a:r>
        </a:p>
      </dsp:txBody>
      <dsp:txXfrm>
        <a:off x="1176463" y="4064000"/>
        <a:ext cx="4369722"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6/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20 4:52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0 4: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067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0 4: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30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0 4: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32977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726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760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0 4: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16/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1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16/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6/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2718556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16/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6/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image" Target="../media/image6.emf"/><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theme" Target="../theme/theme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image" Target="../media/image59.pn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6/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 id="214748392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microsoft.com/office/2018/10/relationships/comments" Target="../comments/modernComment_7BBF5832_72B077DC.xml"/><Relationship Id="rId3" Type="http://schemas.openxmlformats.org/officeDocument/2006/relationships/image" Target="../media/image62.png"/><Relationship Id="rId7" Type="http://schemas.openxmlformats.org/officeDocument/2006/relationships/image" Target="../media/image70.sv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microsoft.com/office/2018/10/relationships/comments" Target="../comments/modernComment_7BBF555C_1D4579CB.xml"/></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7.xml"/></Relationships>
</file>

<file path=ppt/slides/_rels/slide2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9.png"/><Relationship Id="rId7" Type="http://schemas.openxmlformats.org/officeDocument/2006/relationships/diagramColors" Target="../diagrams/colors4.xml"/><Relationship Id="rId12"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191.xml"/><Relationship Id="rId6" Type="http://schemas.openxmlformats.org/officeDocument/2006/relationships/diagramQuickStyle" Target="../diagrams/quickStyle4.xml"/><Relationship Id="rId11" Type="http://schemas.openxmlformats.org/officeDocument/2006/relationships/image" Target="../media/image81.png"/><Relationship Id="rId5" Type="http://schemas.openxmlformats.org/officeDocument/2006/relationships/diagramLayout" Target="../diagrams/layout4.xml"/><Relationship Id="rId10" Type="http://schemas.openxmlformats.org/officeDocument/2006/relationships/image" Target="../media/image80.png"/><Relationship Id="rId4" Type="http://schemas.openxmlformats.org/officeDocument/2006/relationships/diagramData" Target="../diagrams/data4.xml"/><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5" Type="http://schemas.openxmlformats.org/officeDocument/2006/relationships/image" Target="../media/image63.emf"/><Relationship Id="rId4" Type="http://schemas.openxmlformats.org/officeDocument/2006/relationships/image" Target="../media/image62.png"/><Relationship Id="rId9"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microsoft.com/office/2018/10/relationships/comments" Target="../comments/modernComment_7BBF582C_7916BD30.xml"/></Relationships>
</file>

<file path=ppt/slides/_rels/slide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9.xml"/><Relationship Id="rId1" Type="http://schemas.openxmlformats.org/officeDocument/2006/relationships/slideLayout" Target="../slideLayouts/slideLayout223.xml"/><Relationship Id="rId6" Type="http://schemas.microsoft.com/office/2018/10/relationships/comments" Target="../comments/modernComment_7BBF56CE_FAE02A9C.xml"/><Relationship Id="rId5" Type="http://schemas.openxmlformats.org/officeDocument/2006/relationships/image" Target="../media/image66.sv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mod="1">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8"/>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p188="http://schemas.microsoft.com/office/powerpoint/2018/8/main" xmlns:p14="http://schemas.microsoft.com/office/powerpoint/2010/main" xmlns:a16="http://schemas.microsoft.com/office/drawing/2014/main" xmlns=""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mod="1">
    <p:ext uri="{6950BFC3-D8DA-4A85-94F7-54DA5524770B}">
      <p188:commentRel xmlns:p188="http://schemas.microsoft.com/office/powerpoint/2018/8/main" xmlns:mc="http://schemas.openxmlformats.org/markup-compatibility/2006" xmlns:p14="http://schemas.microsoft.com/office/powerpoint/2010/main" xmlns:a16="http://schemas.microsoft.com/office/drawing/2014/main" xmlns=""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529495493"/>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Personalize your customer experience</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15077307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a:t>Demo: Personalize your customer experience</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3827202"/>
          </a:xfrm>
        </p:spPr>
        <p:txBody>
          <a:bodyPr vert="horz" wrap="square" lIns="0" tIns="0" rIns="0" bIns="0" rtlCol="0" anchor="t">
            <a:spAutoFit/>
          </a:bodyPr>
          <a:lstStyle/>
          <a:p>
            <a:r>
              <a:rPr lang="en-US" sz="2750" dirty="0">
                <a:ea typeface="+mn-lt"/>
                <a:cs typeface="+mn-lt"/>
              </a:rPr>
              <a:t>Learning 1: Extend your virtual agent with extended Power Automate capabilities</a:t>
            </a:r>
          </a:p>
          <a:p>
            <a:endParaRPr lang="en-US" dirty="0"/>
          </a:p>
          <a:p>
            <a:r>
              <a:rPr lang="en-US" sz="2750" dirty="0">
                <a:ea typeface="+mn-lt"/>
                <a:cs typeface="+mn-lt"/>
              </a:rPr>
              <a:t>Learning 2: Personalize your customer experience with feature such as customer authentication</a:t>
            </a:r>
          </a:p>
          <a:p>
            <a:endParaRPr lang="en-US" sz="2750" dirty="0">
              <a:ea typeface="+mn-lt"/>
              <a:cs typeface="+mn-lt"/>
            </a:endParaRPr>
          </a:p>
          <a:p>
            <a:pPr marL="0" indent="0">
              <a:buNone/>
            </a:pPr>
            <a:endParaRPr lang="en-US" sz="2750" dirty="0">
              <a:ea typeface="+mn-lt"/>
              <a:cs typeface="+mn-lt"/>
            </a:endParaRPr>
          </a:p>
          <a:p>
            <a:endParaRPr lang="en-US" dirty="0"/>
          </a:p>
        </p:txBody>
      </p:sp>
    </p:spTree>
    <p:extLst>
      <p:ext uri="{BB962C8B-B14F-4D97-AF65-F5344CB8AC3E}">
        <p14:creationId xmlns:p14="http://schemas.microsoft.com/office/powerpoint/2010/main" val="10470059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0ED3-5BCB-4072-B255-B6CAD564E665}"/>
              </a:ext>
            </a:extLst>
          </p:cNvPr>
          <p:cNvSpPr>
            <a:spLocks noGrp="1"/>
          </p:cNvSpPr>
          <p:nvPr>
            <p:ph type="title"/>
          </p:nvPr>
        </p:nvSpPr>
        <p:spPr>
          <a:xfrm>
            <a:off x="588263" y="457200"/>
            <a:ext cx="11018520" cy="553998"/>
          </a:xfrm>
        </p:spPr>
        <p:txBody>
          <a:bodyPr/>
          <a:lstStyle/>
          <a:p>
            <a:r>
              <a:rPr lang="en-US" dirty="0"/>
              <a:t>Built on Power Platform &amp; Azure Bot Service</a:t>
            </a:r>
          </a:p>
        </p:txBody>
      </p:sp>
      <p:grpSp>
        <p:nvGrpSpPr>
          <p:cNvPr id="20" name="Group 19">
            <a:extLst>
              <a:ext uri="{FF2B5EF4-FFF2-40B4-BE49-F238E27FC236}">
                <a16:creationId xmlns:a16="http://schemas.microsoft.com/office/drawing/2014/main" id="{166B6795-7A45-4E16-8F61-C30182B5FA89}"/>
              </a:ext>
            </a:extLst>
          </p:cNvPr>
          <p:cNvGrpSpPr/>
          <p:nvPr/>
        </p:nvGrpSpPr>
        <p:grpSpPr>
          <a:xfrm>
            <a:off x="13716847" y="1441610"/>
            <a:ext cx="6299230" cy="3449713"/>
            <a:chOff x="578195" y="1240980"/>
            <a:chExt cx="6299230" cy="3449713"/>
          </a:xfrm>
          <a:solidFill>
            <a:srgbClr val="0B556A"/>
          </a:solidFill>
        </p:grpSpPr>
        <p:sp>
          <p:nvSpPr>
            <p:cNvPr id="21" name="TextBox 20">
              <a:extLst>
                <a:ext uri="{FF2B5EF4-FFF2-40B4-BE49-F238E27FC236}">
                  <a16:creationId xmlns:a16="http://schemas.microsoft.com/office/drawing/2014/main" id="{418941D6-3A5C-4845-BB5F-F23EC31B060E}"/>
                </a:ext>
              </a:extLst>
            </p:cNvPr>
            <p:cNvSpPr txBox="1"/>
            <p:nvPr/>
          </p:nvSpPr>
          <p:spPr>
            <a:xfrm>
              <a:off x="4316308" y="4161383"/>
              <a:ext cx="247710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a:t>
              </a:r>
              <a:r>
                <a:rPr lang="en-US" sz="1400">
                  <a:latin typeface="Segoe UI" panose="020B0502040204020203" pitchFamily="34" charset="0"/>
                  <a:cs typeface="Segoe UI" panose="020B0502040204020203" pitchFamily="34" charset="0"/>
                </a:rPr>
                <a:t> Icon, Sparingly used</a:t>
              </a:r>
              <a:endParaRPr lang="en-US" sz="1400" b="1">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6BCD98AF-7476-494E-A1D3-DA246E8AEB10}"/>
                </a:ext>
              </a:extLst>
            </p:cNvPr>
            <p:cNvSpPr txBox="1"/>
            <p:nvPr/>
          </p:nvSpPr>
          <p:spPr>
            <a:xfrm>
              <a:off x="4316309" y="3486665"/>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 </a:t>
              </a:r>
              <a:r>
                <a:rPr lang="en-US" sz="1400">
                  <a:latin typeface="Segoe UI" panose="020B0502040204020203" pitchFamily="34" charset="0"/>
                  <a:cs typeface="Segoe UI" panose="020B0502040204020203" pitchFamily="34" charset="0"/>
                </a:rPr>
                <a:t>Icon</a:t>
              </a:r>
              <a:r>
                <a:rPr lang="en-US" sz="1400" b="1">
                  <a:latin typeface="Segoe UI" panose="020B0502040204020203" pitchFamily="34" charset="0"/>
                  <a:cs typeface="Segoe UI" panose="020B0502040204020203" pitchFamily="34" charset="0"/>
                </a:rPr>
                <a:t>, </a:t>
              </a:r>
              <a:r>
                <a:rPr lang="en-US" sz="1400">
                  <a:latin typeface="Segoe UI" panose="020B0502040204020203" pitchFamily="34" charset="0"/>
                  <a:cs typeface="Segoe UI" panose="020B0502040204020203" pitchFamily="34" charset="0"/>
                </a:rPr>
                <a:t>Sparingly used</a:t>
              </a:r>
              <a:endParaRPr lang="en-US" sz="1400" b="1">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B5762C5D-6063-4D20-9686-B16FC7FE0135}"/>
                </a:ext>
              </a:extLst>
            </p:cNvPr>
            <p:cNvSpPr txBox="1"/>
            <p:nvPr/>
          </p:nvSpPr>
          <p:spPr>
            <a:xfrm>
              <a:off x="4316307" y="1462511"/>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Primary: </a:t>
              </a:r>
              <a:r>
                <a:rPr lang="en-US" sz="1400">
                  <a:latin typeface="Segoe UI" panose="020B0502040204020203" pitchFamily="34" charset="0"/>
                  <a:cs typeface="Segoe UI" panose="020B0502040204020203" pitchFamily="34" charset="0"/>
                </a:rPr>
                <a:t>Header, button links</a:t>
              </a:r>
            </a:p>
          </p:txBody>
        </p:sp>
        <p:sp>
          <p:nvSpPr>
            <p:cNvPr id="24" name="TextBox 23">
              <a:extLst>
                <a:ext uri="{FF2B5EF4-FFF2-40B4-BE49-F238E27FC236}">
                  <a16:creationId xmlns:a16="http://schemas.microsoft.com/office/drawing/2014/main" id="{FD6207B4-3282-4CB6-BCCF-D426DD9C2F3D}"/>
                </a:ext>
              </a:extLst>
            </p:cNvPr>
            <p:cNvSpPr txBox="1"/>
            <p:nvPr/>
          </p:nvSpPr>
          <p:spPr>
            <a:xfrm>
              <a:off x="4316307" y="2137229"/>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Secondary</a:t>
              </a:r>
              <a:r>
                <a:rPr lang="en-US" sz="1400">
                  <a:latin typeface="Segoe UI" panose="020B0502040204020203" pitchFamily="34" charset="0"/>
                  <a:cs typeface="Segoe UI" panose="020B0502040204020203" pitchFamily="34" charset="0"/>
                </a:rPr>
                <a:t>: Text hyperlinks</a:t>
              </a:r>
            </a:p>
          </p:txBody>
        </p:sp>
        <p:sp>
          <p:nvSpPr>
            <p:cNvPr id="25" name="TextBox 24">
              <a:extLst>
                <a:ext uri="{FF2B5EF4-FFF2-40B4-BE49-F238E27FC236}">
                  <a16:creationId xmlns:a16="http://schemas.microsoft.com/office/drawing/2014/main" id="{7CB426F9-1B91-408E-9842-6718ADB99A85}"/>
                </a:ext>
              </a:extLst>
            </p:cNvPr>
            <p:cNvSpPr txBox="1"/>
            <p:nvPr/>
          </p:nvSpPr>
          <p:spPr>
            <a:xfrm>
              <a:off x="4316308" y="2811947"/>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Tertiary</a:t>
              </a:r>
              <a:r>
                <a:rPr lang="en-US" sz="1400">
                  <a:latin typeface="Segoe UI" panose="020B0502040204020203" pitchFamily="34" charset="0"/>
                  <a:cs typeface="Segoe UI" panose="020B0502040204020203" pitchFamily="34" charset="0"/>
                </a:rPr>
                <a:t>: Icon, UI details</a:t>
              </a:r>
            </a:p>
          </p:txBody>
        </p:sp>
        <p:pic>
          <p:nvPicPr>
            <p:cNvPr id="26" name="Picture 25" descr="A screenshot of a cell phone&#10;&#10;Description automatically generated">
              <a:extLst>
                <a:ext uri="{FF2B5EF4-FFF2-40B4-BE49-F238E27FC236}">
                  <a16:creationId xmlns:a16="http://schemas.microsoft.com/office/drawing/2014/main" id="{C2BF7DA5-D77A-41B0-870E-02812EC3CEAB}"/>
                </a:ext>
              </a:extLst>
            </p:cNvPr>
            <p:cNvPicPr>
              <a:picLocks noChangeAspect="1"/>
            </p:cNvPicPr>
            <p:nvPr/>
          </p:nvPicPr>
          <p:blipFill>
            <a:blip r:embed="rId3"/>
            <a:stretch>
              <a:fillRect/>
            </a:stretch>
          </p:blipFill>
          <p:spPr>
            <a:xfrm>
              <a:off x="578195" y="1240980"/>
              <a:ext cx="3460135" cy="3449713"/>
            </a:xfrm>
            <a:prstGeom prst="rect">
              <a:avLst/>
            </a:prstGeom>
            <a:grpFill/>
          </p:spPr>
        </p:pic>
      </p:grpSp>
      <p:graphicFrame>
        <p:nvGraphicFramePr>
          <p:cNvPr id="3" name="Diagram 2">
            <a:extLst>
              <a:ext uri="{FF2B5EF4-FFF2-40B4-BE49-F238E27FC236}">
                <a16:creationId xmlns:a16="http://schemas.microsoft.com/office/drawing/2014/main" id="{486A3C97-F2E3-4408-94D6-C6050D3542B8}"/>
              </a:ext>
            </a:extLst>
          </p:cNvPr>
          <p:cNvGraphicFramePr/>
          <p:nvPr/>
        </p:nvGraphicFramePr>
        <p:xfrm>
          <a:off x="196765" y="1207205"/>
          <a:ext cx="672265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Picture 28" descr="A picture containing drawing&#10;&#10;Description automatically generated">
            <a:extLst>
              <a:ext uri="{FF2B5EF4-FFF2-40B4-BE49-F238E27FC236}">
                <a16:creationId xmlns:a16="http://schemas.microsoft.com/office/drawing/2014/main" id="{EA6B2DB2-D9BA-42A0-9EC3-D136A2C062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42886" y="1663141"/>
            <a:ext cx="389777" cy="389777"/>
          </a:xfrm>
          <a:prstGeom prst="rect">
            <a:avLst/>
          </a:prstGeom>
          <a:effectLst>
            <a:glow rad="139700">
              <a:schemeClr val="accent4">
                <a:satMod val="175000"/>
                <a:alpha val="40000"/>
              </a:schemeClr>
            </a:glow>
          </a:effectLst>
        </p:spPr>
      </p:pic>
      <p:grpSp>
        <p:nvGrpSpPr>
          <p:cNvPr id="30" name="Group 29">
            <a:extLst>
              <a:ext uri="{FF2B5EF4-FFF2-40B4-BE49-F238E27FC236}">
                <a16:creationId xmlns:a16="http://schemas.microsoft.com/office/drawing/2014/main" id="{EE5657F6-D781-4854-99ED-6882DD3E8E3C}"/>
              </a:ext>
            </a:extLst>
          </p:cNvPr>
          <p:cNvGrpSpPr>
            <a:grpSpLocks noChangeAspect="1"/>
          </p:cNvGrpSpPr>
          <p:nvPr/>
        </p:nvGrpSpPr>
        <p:grpSpPr>
          <a:xfrm>
            <a:off x="2682105" y="2671713"/>
            <a:ext cx="365760" cy="365760"/>
            <a:chOff x="5216175" y="2901971"/>
            <a:chExt cx="1715723" cy="1715723"/>
          </a:xfrm>
          <a:effectLst/>
        </p:grpSpPr>
        <p:sp>
          <p:nvSpPr>
            <p:cNvPr id="31" name="Oval 30">
              <a:extLst>
                <a:ext uri="{FF2B5EF4-FFF2-40B4-BE49-F238E27FC236}">
                  <a16:creationId xmlns:a16="http://schemas.microsoft.com/office/drawing/2014/main" id="{03C80EDA-9127-4B70-92EA-85CA7B180F4F}"/>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4">
              <a:extLst>
                <a:ext uri="{FF2B5EF4-FFF2-40B4-BE49-F238E27FC236}">
                  <a16:creationId xmlns:a16="http://schemas.microsoft.com/office/drawing/2014/main" id="{045F51ED-4912-4F09-87A3-D5FC148A1613}"/>
                </a:ext>
              </a:extLst>
            </p:cNvPr>
            <p:cNvGrpSpPr>
              <a:grpSpLocks noChangeAspect="1"/>
            </p:cNvGrpSpPr>
            <p:nvPr/>
          </p:nvGrpSpPr>
          <p:grpSpPr bwMode="auto">
            <a:xfrm>
              <a:off x="5681957" y="3458106"/>
              <a:ext cx="784088" cy="603380"/>
              <a:chOff x="2880" y="2176"/>
              <a:chExt cx="256" cy="197"/>
            </a:xfrm>
            <a:solidFill>
              <a:srgbClr val="D2D2D2"/>
            </a:solidFill>
          </p:grpSpPr>
          <p:sp>
            <p:nvSpPr>
              <p:cNvPr id="33" name="Freeform 5">
                <a:extLst>
                  <a:ext uri="{FF2B5EF4-FFF2-40B4-BE49-F238E27FC236}">
                    <a16:creationId xmlns:a16="http://schemas.microsoft.com/office/drawing/2014/main" id="{0E643F2C-252C-4D22-B07E-BF560884B02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4E303006-19E5-4E7E-A7D2-82433A8DE451}"/>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88CA8BA3-591C-4DFC-A3EB-52D289BB954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8">
                <a:extLst>
                  <a:ext uri="{FF2B5EF4-FFF2-40B4-BE49-F238E27FC236}">
                    <a16:creationId xmlns:a16="http://schemas.microsoft.com/office/drawing/2014/main" id="{FB3BB96E-C79C-4143-AAAA-056680A384B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9">
                <a:extLst>
                  <a:ext uri="{FF2B5EF4-FFF2-40B4-BE49-F238E27FC236}">
                    <a16:creationId xmlns:a16="http://schemas.microsoft.com/office/drawing/2014/main" id="{8EF86987-CC42-47A6-9359-7B0863BD5EF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50FACE68-DF61-4D16-A79C-B60736E8D35B}"/>
              </a:ext>
            </a:extLst>
          </p:cNvPr>
          <p:cNvGrpSpPr/>
          <p:nvPr/>
        </p:nvGrpSpPr>
        <p:grpSpPr>
          <a:xfrm>
            <a:off x="4052910" y="2669207"/>
            <a:ext cx="365760" cy="365760"/>
            <a:chOff x="3652520" y="2333616"/>
            <a:chExt cx="1051560" cy="1051560"/>
          </a:xfrm>
          <a:effectLst/>
        </p:grpSpPr>
        <p:sp>
          <p:nvSpPr>
            <p:cNvPr id="39" name="Oval 38">
              <a:extLst>
                <a:ext uri="{FF2B5EF4-FFF2-40B4-BE49-F238E27FC236}">
                  <a16:creationId xmlns:a16="http://schemas.microsoft.com/office/drawing/2014/main" id="{FCD1AF3D-A324-46BC-A966-D214FE80276E}"/>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40" name="Group 12">
              <a:extLst>
                <a:ext uri="{FF2B5EF4-FFF2-40B4-BE49-F238E27FC236}">
                  <a16:creationId xmlns:a16="http://schemas.microsoft.com/office/drawing/2014/main" id="{E3E5FE87-4E94-4824-8024-7F081CB8F19B}"/>
                </a:ext>
              </a:extLst>
            </p:cNvPr>
            <p:cNvGrpSpPr>
              <a:grpSpLocks noChangeAspect="1"/>
            </p:cNvGrpSpPr>
            <p:nvPr/>
          </p:nvGrpSpPr>
          <p:grpSpPr bwMode="auto">
            <a:xfrm>
              <a:off x="3936139" y="2675429"/>
              <a:ext cx="484321" cy="367935"/>
              <a:chOff x="4543" y="2176"/>
              <a:chExt cx="258" cy="196"/>
            </a:xfrm>
            <a:solidFill>
              <a:schemeClr val="bg1"/>
            </a:solidFill>
          </p:grpSpPr>
          <p:sp>
            <p:nvSpPr>
              <p:cNvPr id="42" name="Freeform 13">
                <a:extLst>
                  <a:ext uri="{FF2B5EF4-FFF2-40B4-BE49-F238E27FC236}">
                    <a16:creationId xmlns:a16="http://schemas.microsoft.com/office/drawing/2014/main" id="{035585EC-8B09-4917-9425-1BD149FB21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3" name="Freeform 14">
                <a:extLst>
                  <a:ext uri="{FF2B5EF4-FFF2-40B4-BE49-F238E27FC236}">
                    <a16:creationId xmlns:a16="http://schemas.microsoft.com/office/drawing/2014/main" id="{ADC12967-DF72-42ED-B581-8C53950FB70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4" name="Freeform 15">
                <a:extLst>
                  <a:ext uri="{FF2B5EF4-FFF2-40B4-BE49-F238E27FC236}">
                    <a16:creationId xmlns:a16="http://schemas.microsoft.com/office/drawing/2014/main" id="{4A35B24D-97D3-4524-B2A4-97325BCCCFC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5" name="Freeform 16">
                <a:extLst>
                  <a:ext uri="{FF2B5EF4-FFF2-40B4-BE49-F238E27FC236}">
                    <a16:creationId xmlns:a16="http://schemas.microsoft.com/office/drawing/2014/main" id="{9C1E9857-EDC3-4F20-ADB9-2461C82BCE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6" name="Freeform 17">
                <a:extLst>
                  <a:ext uri="{FF2B5EF4-FFF2-40B4-BE49-F238E27FC236}">
                    <a16:creationId xmlns:a16="http://schemas.microsoft.com/office/drawing/2014/main" id="{6CEDECF3-2556-44DF-9347-0885BC20BC5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48" name="Group 47">
            <a:extLst>
              <a:ext uri="{FF2B5EF4-FFF2-40B4-BE49-F238E27FC236}">
                <a16:creationId xmlns:a16="http://schemas.microsoft.com/office/drawing/2014/main" id="{79FF103C-99E0-465A-94CC-0676A55EDBC5}"/>
              </a:ext>
            </a:extLst>
          </p:cNvPr>
          <p:cNvGrpSpPr/>
          <p:nvPr/>
        </p:nvGrpSpPr>
        <p:grpSpPr>
          <a:xfrm>
            <a:off x="3369734" y="2669207"/>
            <a:ext cx="365760" cy="365760"/>
            <a:chOff x="4726930" y="4471472"/>
            <a:chExt cx="703088" cy="703088"/>
          </a:xfrm>
          <a:effectLst>
            <a:outerShdw blurRad="177800" dist="177800" dir="5400000" algn="t" rotWithShape="0">
              <a:prstClr val="black">
                <a:alpha val="10000"/>
              </a:prstClr>
            </a:outerShdw>
          </a:effectLst>
        </p:grpSpPr>
        <p:sp>
          <p:nvSpPr>
            <p:cNvPr id="50" name="Oval 49">
              <a:extLst>
                <a:ext uri="{FF2B5EF4-FFF2-40B4-BE49-F238E27FC236}">
                  <a16:creationId xmlns:a16="http://schemas.microsoft.com/office/drawing/2014/main" id="{1E90BBE2-D331-45D6-A27D-630FFC7FD2E3}"/>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1C04D096-C3BA-4BA1-93FB-FEEB77049F86}"/>
                </a:ext>
              </a:extLst>
            </p:cNvPr>
            <p:cNvGrpSpPr/>
            <p:nvPr/>
          </p:nvGrpSpPr>
          <p:grpSpPr>
            <a:xfrm>
              <a:off x="4902990" y="4689695"/>
              <a:ext cx="350968" cy="266644"/>
              <a:chOff x="-1146792" y="678443"/>
              <a:chExt cx="1017587" cy="773113"/>
            </a:xfrm>
            <a:solidFill>
              <a:srgbClr val="D2D2D2"/>
            </a:solidFill>
          </p:grpSpPr>
          <p:sp>
            <p:nvSpPr>
              <p:cNvPr id="52" name="Freeform 5">
                <a:extLst>
                  <a:ext uri="{FF2B5EF4-FFF2-40B4-BE49-F238E27FC236}">
                    <a16:creationId xmlns:a16="http://schemas.microsoft.com/office/drawing/2014/main" id="{0E7E74A9-6791-4758-BB01-57D0371D69AC}"/>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6A48771-43C6-44EB-9887-515E4E1F3258}"/>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9" name="Picture 8" descr="A picture containing group, food&#10;&#10;Description automatically generated">
            <a:extLst>
              <a:ext uri="{FF2B5EF4-FFF2-40B4-BE49-F238E27FC236}">
                <a16:creationId xmlns:a16="http://schemas.microsoft.com/office/drawing/2014/main" id="{CC43C590-6332-4842-9514-46B7227C7D10}"/>
              </a:ext>
            </a:extLst>
          </p:cNvPr>
          <p:cNvPicPr>
            <a:picLocks noChangeAspect="1"/>
          </p:cNvPicPr>
          <p:nvPr/>
        </p:nvPicPr>
        <p:blipFill>
          <a:blip r:embed="rId10"/>
          <a:stretch>
            <a:fillRect/>
          </a:stretch>
        </p:blipFill>
        <p:spPr>
          <a:xfrm>
            <a:off x="7815739" y="1001160"/>
            <a:ext cx="3849517" cy="4091842"/>
          </a:xfrm>
          <a:prstGeom prst="rect">
            <a:avLst/>
          </a:prstGeom>
        </p:spPr>
      </p:pic>
      <p:cxnSp>
        <p:nvCxnSpPr>
          <p:cNvPr id="11" name="Connector: Elbow 10">
            <a:extLst>
              <a:ext uri="{FF2B5EF4-FFF2-40B4-BE49-F238E27FC236}">
                <a16:creationId xmlns:a16="http://schemas.microsoft.com/office/drawing/2014/main" id="{5FBA2004-CD23-4AA3-B6C4-CC5059FA6A06}"/>
              </a:ext>
            </a:extLst>
          </p:cNvPr>
          <p:cNvCxnSpPr>
            <a:cxnSpLocks/>
          </p:cNvCxnSpPr>
          <p:nvPr/>
        </p:nvCxnSpPr>
        <p:spPr>
          <a:xfrm flipV="1">
            <a:off x="4865427" y="2197289"/>
            <a:ext cx="2654489" cy="876245"/>
          </a:xfrm>
          <a:prstGeom prst="bentConnector3">
            <a:avLst>
              <a:gd name="adj1" fmla="val 7093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EF9C37-D757-4AAE-A8C0-DED25911D323}"/>
              </a:ext>
            </a:extLst>
          </p:cNvPr>
          <p:cNvCxnSpPr>
            <a:cxnSpLocks/>
          </p:cNvCxnSpPr>
          <p:nvPr/>
        </p:nvCxnSpPr>
        <p:spPr>
          <a:xfrm>
            <a:off x="5667743" y="4548257"/>
            <a:ext cx="1785214" cy="1230990"/>
          </a:xfrm>
          <a:prstGeom prst="bentConnector3">
            <a:avLst>
              <a:gd name="adj1" fmla="val 600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5B8ECFC-18BB-44B5-8223-9D400AC21C1C}"/>
              </a:ext>
            </a:extLst>
          </p:cNvPr>
          <p:cNvCxnSpPr>
            <a:cxnSpLocks/>
          </p:cNvCxnSpPr>
          <p:nvPr/>
        </p:nvCxnSpPr>
        <p:spPr>
          <a:xfrm flipV="1">
            <a:off x="6919415" y="6096000"/>
            <a:ext cx="3903973" cy="529872"/>
          </a:xfrm>
          <a:prstGeom prst="bentConnector3">
            <a:avLst>
              <a:gd name="adj1" fmla="val 10051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5" name="Picture 54" descr="A picture containing device, clock&#10;&#10;Description automatically generated">
            <a:extLst>
              <a:ext uri="{FF2B5EF4-FFF2-40B4-BE49-F238E27FC236}">
                <a16:creationId xmlns:a16="http://schemas.microsoft.com/office/drawing/2014/main" id="{02D2F396-31F3-4802-99CE-AB02D750D8C8}"/>
              </a:ext>
            </a:extLst>
          </p:cNvPr>
          <p:cNvPicPr>
            <a:picLocks noChangeAspect="1"/>
          </p:cNvPicPr>
          <p:nvPr/>
        </p:nvPicPr>
        <p:blipFill>
          <a:blip r:embed="rId11"/>
          <a:stretch>
            <a:fillRect/>
          </a:stretch>
        </p:blipFill>
        <p:spPr>
          <a:xfrm>
            <a:off x="7596094" y="5375454"/>
            <a:ext cx="2019013" cy="1097838"/>
          </a:xfrm>
          <a:prstGeom prst="rect">
            <a:avLst/>
          </a:prstGeom>
        </p:spPr>
      </p:pic>
      <p:pic>
        <p:nvPicPr>
          <p:cNvPr id="60" name="Picture 59" descr="A close up of a map&#10;&#10;Description automatically generated">
            <a:extLst>
              <a:ext uri="{FF2B5EF4-FFF2-40B4-BE49-F238E27FC236}">
                <a16:creationId xmlns:a16="http://schemas.microsoft.com/office/drawing/2014/main" id="{D66942FD-2109-4BA3-9C5B-96253BB8771B}"/>
              </a:ext>
            </a:extLst>
          </p:cNvPr>
          <p:cNvPicPr>
            <a:picLocks noChangeAspect="1"/>
          </p:cNvPicPr>
          <p:nvPr/>
        </p:nvPicPr>
        <p:blipFill>
          <a:blip r:embed="rId12"/>
          <a:stretch>
            <a:fillRect/>
          </a:stretch>
        </p:blipFill>
        <p:spPr>
          <a:xfrm>
            <a:off x="9914850" y="5420751"/>
            <a:ext cx="1918573" cy="10764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1223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553998"/>
          </a:xfrm>
        </p:spPr>
        <p:txBody>
          <a:bodyPr/>
          <a:lstStyle/>
          <a:p>
            <a:pPr lvl="0"/>
            <a:r>
              <a:rPr lang="en-US" dirty="0"/>
              <a:t>Extend your bot capabilities with Azure Bot Service</a:t>
            </a:r>
          </a:p>
        </p:txBody>
      </p:sp>
      <p:sp>
        <p:nvSpPr>
          <p:cNvPr id="5" name="Text Placeholder 1">
            <a:extLst>
              <a:ext uri="{FF2B5EF4-FFF2-40B4-BE49-F238E27FC236}">
                <a16:creationId xmlns:a16="http://schemas.microsoft.com/office/drawing/2014/main" id="{9E9B3B55-E2DB-4060-B9B6-CC43FAD2DDCD}"/>
              </a:ext>
            </a:extLst>
          </p:cNvPr>
          <p:cNvSpPr txBox="1">
            <a:spLocks/>
          </p:cNvSpPr>
          <p:nvPr/>
        </p:nvSpPr>
        <p:spPr>
          <a:xfrm>
            <a:off x="455995" y="1482079"/>
            <a:ext cx="4561308" cy="25817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1961" b="1" spc="0">
                <a:gradFill>
                  <a:gsLst>
                    <a:gs pos="83000">
                      <a:srgbClr val="008272"/>
                    </a:gs>
                    <a:gs pos="100000">
                      <a:srgbClr val="008272"/>
                    </a:gs>
                  </a:gsLst>
                  <a:lin ang="5400000" scaled="1"/>
                </a:gradFill>
                <a:latin typeface="Segoe UI"/>
              </a:rPr>
              <a:t>Microsoft Bot Framework Skills Support</a:t>
            </a:r>
          </a:p>
          <a:p>
            <a:pPr defTabSz="932186" fontAlgn="base">
              <a:spcAft>
                <a:spcPts val="588"/>
              </a:spcAft>
              <a:buSzTx/>
            </a:pPr>
            <a:r>
              <a:rPr lang="en-US" sz="1765" spc="0">
                <a:gradFill>
                  <a:gsLst>
                    <a:gs pos="83000">
                      <a:srgbClr val="3C3C41"/>
                    </a:gs>
                    <a:gs pos="100000">
                      <a:srgbClr val="3C3C41"/>
                    </a:gs>
                  </a:gsLst>
                  <a:lin ang="5400000" scaled="1"/>
                </a:gradFill>
                <a:latin typeface="Segoe UI"/>
                <a:cs typeface="Segoe UI" panose="020B0502040204020203" pitchFamily="34" charset="0"/>
              </a:rPr>
              <a:t>Skills are reusable conversational dialogs that can be used to author scenarios using complex capabilities. Bot authors can convert any existing bot into a Skill and seamlessly trigger actions embedded in it through our no-code designer.</a:t>
            </a:r>
          </a:p>
          <a:p>
            <a:pPr defTabSz="932186" fontAlgn="base">
              <a:spcAft>
                <a:spcPts val="588"/>
              </a:spcAft>
              <a:buSzTx/>
            </a:pPr>
            <a:endParaRPr lang="en-US" sz="1765" spc="0">
              <a:gradFill>
                <a:gsLst>
                  <a:gs pos="83000">
                    <a:srgbClr val="3C3C41"/>
                  </a:gs>
                  <a:gs pos="100000">
                    <a:srgbClr val="3C3C41"/>
                  </a:gs>
                </a:gsLst>
                <a:lin ang="5400000" scaled="1"/>
              </a:gradFill>
              <a:latin typeface="Segoe UI"/>
              <a:cs typeface="Segoe UI" panose="020B0502040204020203" pitchFamily="34" charset="0"/>
            </a:endParaRPr>
          </a:p>
        </p:txBody>
      </p:sp>
      <p:pic>
        <p:nvPicPr>
          <p:cNvPr id="3" name="Picture 2" descr="A screenshot of a social media post&#10;&#10;Description automatically generated">
            <a:extLst>
              <a:ext uri="{FF2B5EF4-FFF2-40B4-BE49-F238E27FC236}">
                <a16:creationId xmlns:a16="http://schemas.microsoft.com/office/drawing/2014/main" id="{3B77C22D-0D39-4039-8338-12023AF54D23}"/>
              </a:ext>
            </a:extLst>
          </p:cNvPr>
          <p:cNvPicPr>
            <a:picLocks noChangeAspect="1"/>
          </p:cNvPicPr>
          <p:nvPr/>
        </p:nvPicPr>
        <p:blipFill>
          <a:blip r:embed="rId3"/>
          <a:stretch>
            <a:fillRect/>
          </a:stretch>
        </p:blipFill>
        <p:spPr>
          <a:xfrm>
            <a:off x="5338834" y="1311675"/>
            <a:ext cx="6853167" cy="4007199"/>
          </a:xfrm>
          <a:prstGeom prst="rect">
            <a:avLst/>
          </a:prstGeom>
        </p:spPr>
      </p:pic>
      <p:sp>
        <p:nvSpPr>
          <p:cNvPr id="6" name="Rectangle 5">
            <a:extLst>
              <a:ext uri="{FF2B5EF4-FFF2-40B4-BE49-F238E27FC236}">
                <a16:creationId xmlns:a16="http://schemas.microsoft.com/office/drawing/2014/main" id="{EA2E8FEE-2D4F-42D9-9868-25D59013F30C}"/>
              </a:ext>
            </a:extLst>
          </p:cNvPr>
          <p:cNvSpPr/>
          <p:nvPr/>
        </p:nvSpPr>
        <p:spPr>
          <a:xfrm>
            <a:off x="4008151" y="1311675"/>
            <a:ext cx="706797" cy="369332"/>
          </a:xfrm>
          <a:prstGeom prst="rect">
            <a:avLst/>
          </a:prstGeom>
        </p:spPr>
        <p:txBody>
          <a:bodyPr wrap="none">
            <a:spAutoFit/>
          </a:bodyPr>
          <a:lstStyle/>
          <a:p>
            <a:r>
              <a:rPr lang="en-US" sz="1800" baseline="30000" dirty="0">
                <a:solidFill>
                  <a:srgbClr val="14848F"/>
                </a:solidFill>
              </a:rPr>
              <a:t>preview</a:t>
            </a:r>
            <a:endParaRPr lang="en-US" dirty="0">
              <a:solidFill>
                <a:srgbClr val="14848F"/>
              </a:solidFill>
            </a:endParaRPr>
          </a:p>
        </p:txBody>
      </p:sp>
    </p:spTree>
    <p:extLst>
      <p:ext uri="{BB962C8B-B14F-4D97-AF65-F5344CB8AC3E}">
        <p14:creationId xmlns:p14="http://schemas.microsoft.com/office/powerpoint/2010/main" val="18588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Create and deploy a Power Virtual Agents bot</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1180716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5" name="Content Placeholder 4">
            <a:extLst>
              <a:ext uri="{FF2B5EF4-FFF2-40B4-BE49-F238E27FC236}">
                <a16:creationId xmlns:a16="http://schemas.microsoft.com/office/drawing/2014/main" id="{D89B840B-AB0D-4E9D-83B2-37F05B6E6848}"/>
              </a:ext>
            </a:extLst>
          </p:cNvPr>
          <p:cNvGraphicFramePr>
            <a:graphicFrameLocks/>
          </p:cNvGraphicFramePr>
          <p:nvPr>
            <p:extLst>
              <p:ext uri="{D42A27DB-BD31-4B8C-83A1-F6EECF244321}">
                <p14:modId xmlns:p14="http://schemas.microsoft.com/office/powerpoint/2010/main" val="4154733931"/>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5: Power Packed Day with Power Virtual Agents</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a:p>
            <a:pPr marL="800100" lvl="1"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and deploy a Power Virtual Agents bot</a:t>
            </a:r>
            <a:endParaRPr lang="en-IN" sz="2000" dirty="0">
              <a:solidFill>
                <a:srgbClr val="2F2F2F"/>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xmlns:p14="http://schemas.microsoft.com/office/powerpoint/2010/main" xmlns:a14="http://schemas.microsoft.com/office/drawing/2010/main" xmlns:a16="http://schemas.microsoft.com/office/drawing/2014/main" xmlns="" r:id="rId9"/>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mc="http://schemas.openxmlformats.org/markup-compatibility/2006" xmlns:a14="http://schemas.microsoft.com/office/drawing/2010/main" xmlns:dgm="http://schemas.openxmlformats.org/drawingml/2006/diagram" xmlns:p14="http://schemas.microsoft.com/office/powerpoint/2010/main" xmlns:a16="http://schemas.microsoft.com/office/drawing/2014/main" xmlns="" r:id="rId9"/>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6"/>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39</TotalTime>
  <Words>1614</Words>
  <Application>Microsoft Office PowerPoint</Application>
  <PresentationFormat>Widescreen</PresentationFormat>
  <Paragraphs>306</Paragraphs>
  <Slides>27</Slides>
  <Notes>25</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7</vt:i4>
      </vt:variant>
    </vt:vector>
  </HeadingPairs>
  <TitlesOfParts>
    <vt:vector size="47"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lpstr>Demo: Personalize your customer experience</vt:lpstr>
      <vt:lpstr>Built on Power Platform &amp; Azure Bot Service</vt:lpstr>
      <vt:lpstr>Extend your bot capabilities with Azure Bot Servic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04</cp:revision>
  <dcterms:created xsi:type="dcterms:W3CDTF">2020-02-12T12:44:10Z</dcterms:created>
  <dcterms:modified xsi:type="dcterms:W3CDTF">2020-02-16T11:32:34Z</dcterms:modified>
</cp:coreProperties>
</file>